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sldIdLst>
    <p:sldId id="256" r:id="rId2"/>
    <p:sldId id="257" r:id="rId3"/>
    <p:sldId id="259" r:id="rId4"/>
    <p:sldId id="2147473252" r:id="rId5"/>
    <p:sldId id="260" r:id="rId6"/>
    <p:sldId id="262" r:id="rId7"/>
    <p:sldId id="2147473253" r:id="rId8"/>
  </p:sldIdLst>
  <p:sldSz cx="12192000" cy="6858000"/>
  <p:notesSz cx="6858000" cy="9144000"/>
  <p:defaultTextStyle>
    <a:defPPr>
      <a:defRPr lang="it-IT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C00000"/>
    <a:srgbClr val="C33E1B"/>
    <a:srgbClr val="D8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3ECA1416-873A-A6D6-5F6C-992829410866}" v="67" dt="2023-12-15T11:35:24.743"/>
    <p1510:client id="{4B5334B4-5BD1-459D-A028-DB8565842E57}" v="1" dt="2023-12-15T11:21:49.454"/>
    <p1510:client id="{AA3C6BD6-8ED7-137B-A979-E016F6DFCDFD}" v="16" dt="2023-12-15T10:01:25.566"/>
    <p1510:client id="{BE6FD575-DE93-084A-A6A0-8D869D7C3D39}" v="1487" dt="2023-12-15T13:37:20.525"/>
    <p1510:client id="{CDBCC853-B12E-3295-1638-124F874B8D08}" v="21" dt="2023-12-15T13:47:02.675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slideViewPr>
    <p:cSldViewPr snapToGrid="0">
      <p:cViewPr>
        <p:scale>
          <a:sx n="1" d="2"/>
          <a:sy n="1" d="2"/>
        </p:scale>
        <p:origin x="0" y="0"/>
      </p:cViewPr>
      <p:guideLst/>
    </p:cSldViewPr>
  </p:slide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microsoft.com/office/2016/11/relationships/changesInfo" Target="changesInfos/changesInfo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heme" Target="theme/theme1.xml"/><Relationship Id="rId5" Type="http://schemas.openxmlformats.org/officeDocument/2006/relationships/slide" Target="slides/slide4.xml"/><Relationship Id="rId10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presProps" Target="presProps.xml"/><Relationship Id="rId14" Type="http://schemas.microsoft.com/office/2015/10/relationships/revisionInfo" Target="revisionInfo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ILDEM DEMIR" userId="S::ildem.demir@studbocconi.it::d8d5c516-380f-4fd6-a2e4-95a39faa25ed" providerId="AD" clId="Web-{AA3C6BD6-8ED7-137B-A979-E016F6DFCDFD}"/>
    <pc:docChg chg="modSld">
      <pc:chgData name="ILDEM DEMIR" userId="S::ildem.demir@studbocconi.it::d8d5c516-380f-4fd6-a2e4-95a39faa25ed" providerId="AD" clId="Web-{AA3C6BD6-8ED7-137B-A979-E016F6DFCDFD}" dt="2023-12-15T10:01:25.566" v="12" actId="1076"/>
      <pc:docMkLst>
        <pc:docMk/>
      </pc:docMkLst>
      <pc:sldChg chg="addSp delSp modSp">
        <pc:chgData name="ILDEM DEMIR" userId="S::ildem.demir@studbocconi.it::d8d5c516-380f-4fd6-a2e4-95a39faa25ed" providerId="AD" clId="Web-{AA3C6BD6-8ED7-137B-A979-E016F6DFCDFD}" dt="2023-12-15T10:01:25.566" v="12" actId="1076"/>
        <pc:sldMkLst>
          <pc:docMk/>
          <pc:sldMk cId="2753883895" sldId="259"/>
        </pc:sldMkLst>
        <pc:picChg chg="add mod">
          <ac:chgData name="ILDEM DEMIR" userId="S::ildem.demir@studbocconi.it::d8d5c516-380f-4fd6-a2e4-95a39faa25ed" providerId="AD" clId="Web-{AA3C6BD6-8ED7-137B-A979-E016F6DFCDFD}" dt="2023-12-15T09:58:35.326" v="7" actId="14100"/>
          <ac:picMkLst>
            <pc:docMk/>
            <pc:sldMk cId="2753883895" sldId="259"/>
            <ac:picMk id="2" creationId="{2CB98937-7321-1D35-603D-D663104786AC}"/>
          </ac:picMkLst>
        </pc:picChg>
        <pc:picChg chg="add mod">
          <ac:chgData name="ILDEM DEMIR" userId="S::ildem.demir@studbocconi.it::d8d5c516-380f-4fd6-a2e4-95a39faa25ed" providerId="AD" clId="Web-{AA3C6BD6-8ED7-137B-A979-E016F6DFCDFD}" dt="2023-12-15T10:01:25.566" v="12" actId="1076"/>
          <ac:picMkLst>
            <pc:docMk/>
            <pc:sldMk cId="2753883895" sldId="259"/>
            <ac:picMk id="3" creationId="{24544960-2A6D-34A0-6E11-A676D68CED1E}"/>
          </ac:picMkLst>
        </pc:picChg>
        <pc:picChg chg="del">
          <ac:chgData name="ILDEM DEMIR" userId="S::ildem.demir@studbocconi.it::d8d5c516-380f-4fd6-a2e4-95a39faa25ed" providerId="AD" clId="Web-{AA3C6BD6-8ED7-137B-A979-E016F6DFCDFD}" dt="2023-12-15T09:57:50.074" v="0"/>
          <ac:picMkLst>
            <pc:docMk/>
            <pc:sldMk cId="2753883895" sldId="259"/>
            <ac:picMk id="35" creationId="{1567A47F-64C5-A0CA-2EF6-E89CC2B426B4}"/>
          </ac:picMkLst>
        </pc:picChg>
      </pc:sldChg>
    </pc:docChg>
  </pc:docChgLst>
  <pc:docChgLst>
    <pc:chgData name="DAVIDE CHENGRUI XIE" userId="3b3d0da2-60e6-4fc0-b387-ffa1f6840bb5" providerId="ADAL" clId="{BE6FD575-DE93-084A-A6A0-8D869D7C3D39}"/>
    <pc:docChg chg="undo redo custSel addSld delSld modSld">
      <pc:chgData name="DAVIDE CHENGRUI XIE" userId="3b3d0da2-60e6-4fc0-b387-ffa1f6840bb5" providerId="ADAL" clId="{BE6FD575-DE93-084A-A6A0-8D869D7C3D39}" dt="2023-12-15T13:37:20.526" v="1591" actId="1076"/>
      <pc:docMkLst>
        <pc:docMk/>
      </pc:docMkLst>
      <pc:sldChg chg="addSp delSp modSp mod delAnim modAnim">
        <pc:chgData name="DAVIDE CHENGRUI XIE" userId="3b3d0da2-60e6-4fc0-b387-ffa1f6840bb5" providerId="ADAL" clId="{BE6FD575-DE93-084A-A6A0-8D869D7C3D39}" dt="2023-12-15T10:16:51.776" v="136" actId="478"/>
        <pc:sldMkLst>
          <pc:docMk/>
          <pc:sldMk cId="2145951326" sldId="256"/>
        </pc:sldMkLst>
        <pc:spChg chg="mod">
          <ac:chgData name="DAVIDE CHENGRUI XIE" userId="3b3d0da2-60e6-4fc0-b387-ffa1f6840bb5" providerId="ADAL" clId="{BE6FD575-DE93-084A-A6A0-8D869D7C3D39}" dt="2023-12-15T10:10:48.577" v="97" actId="14100"/>
          <ac:spMkLst>
            <pc:docMk/>
            <pc:sldMk cId="2145951326" sldId="256"/>
            <ac:spMk id="10" creationId="{89C8D494-FBC3-00C6-4EDF-C12C9A67896F}"/>
          </ac:spMkLst>
        </pc:spChg>
        <pc:spChg chg="add del mod">
          <ac:chgData name="DAVIDE CHENGRUI XIE" userId="3b3d0da2-60e6-4fc0-b387-ffa1f6840bb5" providerId="ADAL" clId="{BE6FD575-DE93-084A-A6A0-8D869D7C3D39}" dt="2023-12-15T10:16:51.776" v="136" actId="478"/>
          <ac:spMkLst>
            <pc:docMk/>
            <pc:sldMk cId="2145951326" sldId="256"/>
            <ac:spMk id="13" creationId="{C249FF1F-99FD-D91D-50A3-6419A82DFA32}"/>
          </ac:spMkLst>
        </pc:spChg>
        <pc:picChg chg="mod">
          <ac:chgData name="DAVIDE CHENGRUI XIE" userId="3b3d0da2-60e6-4fc0-b387-ffa1f6840bb5" providerId="ADAL" clId="{BE6FD575-DE93-084A-A6A0-8D869D7C3D39}" dt="2023-12-15T10:11:15.482" v="106" actId="14100"/>
          <ac:picMkLst>
            <pc:docMk/>
            <pc:sldMk cId="2145951326" sldId="256"/>
            <ac:picMk id="1026" creationId="{48A5522B-97AE-9D9C-6A5B-03E43610E649}"/>
          </ac:picMkLst>
        </pc:picChg>
      </pc:sldChg>
      <pc:sldChg chg="addSp delSp modSp mod modTransition">
        <pc:chgData name="DAVIDE CHENGRUI XIE" userId="3b3d0da2-60e6-4fc0-b387-ffa1f6840bb5" providerId="ADAL" clId="{BE6FD575-DE93-084A-A6A0-8D869D7C3D39}" dt="2023-12-15T10:17:06.370" v="138" actId="14100"/>
        <pc:sldMkLst>
          <pc:docMk/>
          <pc:sldMk cId="3913302491" sldId="257"/>
        </pc:sldMkLst>
        <pc:spChg chg="mod">
          <ac:chgData name="DAVIDE CHENGRUI XIE" userId="3b3d0da2-60e6-4fc0-b387-ffa1f6840bb5" providerId="ADAL" clId="{BE6FD575-DE93-084A-A6A0-8D869D7C3D39}" dt="2023-12-15T10:11:42.807" v="109" actId="14100"/>
          <ac:spMkLst>
            <pc:docMk/>
            <pc:sldMk cId="3913302491" sldId="257"/>
            <ac:spMk id="10" creationId="{ACD71A32-1ECA-8D5A-5F2B-4585298BA29E}"/>
          </ac:spMkLst>
        </pc:spChg>
        <pc:spChg chg="add del mod">
          <ac:chgData name="DAVIDE CHENGRUI XIE" userId="3b3d0da2-60e6-4fc0-b387-ffa1f6840bb5" providerId="ADAL" clId="{BE6FD575-DE93-084A-A6A0-8D869D7C3D39}" dt="2023-12-15T10:12:20.537" v="114" actId="478"/>
          <ac:spMkLst>
            <pc:docMk/>
            <pc:sldMk cId="3913302491" sldId="257"/>
            <ac:spMk id="11" creationId="{F9DCFCBB-44ED-C81C-ED97-8E3EA010DB38}"/>
          </ac:spMkLst>
        </pc:spChg>
        <pc:spChg chg="add del mod">
          <ac:chgData name="DAVIDE CHENGRUI XIE" userId="3b3d0da2-60e6-4fc0-b387-ffa1f6840bb5" providerId="ADAL" clId="{BE6FD575-DE93-084A-A6A0-8D869D7C3D39}" dt="2023-12-15T10:12:49.370" v="118" actId="478"/>
          <ac:spMkLst>
            <pc:docMk/>
            <pc:sldMk cId="3913302491" sldId="257"/>
            <ac:spMk id="12" creationId="{F625718D-AE5B-1211-BE6F-A03BC7D45044}"/>
          </ac:spMkLst>
        </pc:spChg>
        <pc:spChg chg="add mod">
          <ac:chgData name="DAVIDE CHENGRUI XIE" userId="3b3d0da2-60e6-4fc0-b387-ffa1f6840bb5" providerId="ADAL" clId="{BE6FD575-DE93-084A-A6A0-8D869D7C3D39}" dt="2023-12-15T10:17:06.370" v="138" actId="14100"/>
          <ac:spMkLst>
            <pc:docMk/>
            <pc:sldMk cId="3913302491" sldId="257"/>
            <ac:spMk id="13" creationId="{E6400E9F-CBE8-6B4B-7D7D-4A08E8CBCFED}"/>
          </ac:spMkLst>
        </pc:spChg>
        <pc:picChg chg="mod">
          <ac:chgData name="DAVIDE CHENGRUI XIE" userId="3b3d0da2-60e6-4fc0-b387-ffa1f6840bb5" providerId="ADAL" clId="{BE6FD575-DE93-084A-A6A0-8D869D7C3D39}" dt="2023-12-15T10:11:39.427" v="108" actId="14100"/>
          <ac:picMkLst>
            <pc:docMk/>
            <pc:sldMk cId="3913302491" sldId="257"/>
            <ac:picMk id="2050" creationId="{51550763-F497-E325-2005-82B52630E14B}"/>
          </ac:picMkLst>
        </pc:picChg>
      </pc:sldChg>
      <pc:sldChg chg="addSp delSp modSp mod">
        <pc:chgData name="DAVIDE CHENGRUI XIE" userId="3b3d0da2-60e6-4fc0-b387-ffa1f6840bb5" providerId="ADAL" clId="{BE6FD575-DE93-084A-A6A0-8D869D7C3D39}" dt="2023-12-15T10:24:27.287" v="273" actId="478"/>
        <pc:sldMkLst>
          <pc:docMk/>
          <pc:sldMk cId="2753883895" sldId="259"/>
        </pc:sldMkLst>
        <pc:spChg chg="mod">
          <ac:chgData name="DAVIDE CHENGRUI XIE" userId="3b3d0da2-60e6-4fc0-b387-ffa1f6840bb5" providerId="ADAL" clId="{BE6FD575-DE93-084A-A6A0-8D869D7C3D39}" dt="2023-12-15T09:59:44.435" v="10" actId="20577"/>
          <ac:spMkLst>
            <pc:docMk/>
            <pc:sldMk cId="2753883895" sldId="259"/>
            <ac:spMk id="22" creationId="{BEBBFFAC-0E73-69FD-EDC7-DAC9FCDCADEC}"/>
          </ac:spMkLst>
        </pc:spChg>
        <pc:spChg chg="mod">
          <ac:chgData name="DAVIDE CHENGRUI XIE" userId="3b3d0da2-60e6-4fc0-b387-ffa1f6840bb5" providerId="ADAL" clId="{BE6FD575-DE93-084A-A6A0-8D869D7C3D39}" dt="2023-12-15T10:01:05.781" v="35" actId="20577"/>
          <ac:spMkLst>
            <pc:docMk/>
            <pc:sldMk cId="2753883895" sldId="259"/>
            <ac:spMk id="23" creationId="{900CB083-0130-B6E6-991D-2660B5D25583}"/>
          </ac:spMkLst>
        </pc:spChg>
        <pc:spChg chg="del mod">
          <ac:chgData name="DAVIDE CHENGRUI XIE" userId="3b3d0da2-60e6-4fc0-b387-ffa1f6840bb5" providerId="ADAL" clId="{BE6FD575-DE93-084A-A6A0-8D869D7C3D39}" dt="2023-12-15T10:20:45.924" v="197" actId="478"/>
          <ac:spMkLst>
            <pc:docMk/>
            <pc:sldMk cId="2753883895" sldId="259"/>
            <ac:spMk id="24" creationId="{99E50BB2-C10B-CAA3-DC04-884CAC2A6E4C}"/>
          </ac:spMkLst>
        </pc:spChg>
        <pc:spChg chg="mod">
          <ac:chgData name="DAVIDE CHENGRUI XIE" userId="3b3d0da2-60e6-4fc0-b387-ffa1f6840bb5" providerId="ADAL" clId="{BE6FD575-DE93-084A-A6A0-8D869D7C3D39}" dt="2023-12-15T09:58:18.199" v="5" actId="255"/>
          <ac:spMkLst>
            <pc:docMk/>
            <pc:sldMk cId="2753883895" sldId="259"/>
            <ac:spMk id="34" creationId="{60FE00E7-3957-D3DA-449E-38CCFD431DA1}"/>
          </ac:spMkLst>
        </pc:spChg>
        <pc:spChg chg="mod">
          <ac:chgData name="DAVIDE CHENGRUI XIE" userId="3b3d0da2-60e6-4fc0-b387-ffa1f6840bb5" providerId="ADAL" clId="{BE6FD575-DE93-084A-A6A0-8D869D7C3D39}" dt="2023-12-15T09:58:43.561" v="6" actId="2085"/>
          <ac:spMkLst>
            <pc:docMk/>
            <pc:sldMk cId="2753883895" sldId="259"/>
            <ac:spMk id="36" creationId="{C8E1650D-F7A3-B8C1-9EC1-80C7C8B9153C}"/>
          </ac:spMkLst>
        </pc:spChg>
        <pc:spChg chg="mod">
          <ac:chgData name="DAVIDE CHENGRUI XIE" userId="3b3d0da2-60e6-4fc0-b387-ffa1f6840bb5" providerId="ADAL" clId="{BE6FD575-DE93-084A-A6A0-8D869D7C3D39}" dt="2023-12-15T09:58:47.653" v="7" actId="2085"/>
          <ac:spMkLst>
            <pc:docMk/>
            <pc:sldMk cId="2753883895" sldId="259"/>
            <ac:spMk id="37" creationId="{C80BA881-2334-979B-C5BC-88075BAE6579}"/>
          </ac:spMkLst>
        </pc:spChg>
        <pc:spChg chg="add mod">
          <ac:chgData name="DAVIDE CHENGRUI XIE" userId="3b3d0da2-60e6-4fc0-b387-ffa1f6840bb5" providerId="ADAL" clId="{BE6FD575-DE93-084A-A6A0-8D869D7C3D39}" dt="2023-12-15T10:21:18.569" v="224" actId="1076"/>
          <ac:spMkLst>
            <pc:docMk/>
            <pc:sldMk cId="2753883895" sldId="259"/>
            <ac:spMk id="38" creationId="{1B55834D-14D5-A6B8-1B70-F672AFCAEF67}"/>
          </ac:spMkLst>
        </pc:spChg>
        <pc:spChg chg="add del mod">
          <ac:chgData name="DAVIDE CHENGRUI XIE" userId="3b3d0da2-60e6-4fc0-b387-ffa1f6840bb5" providerId="ADAL" clId="{BE6FD575-DE93-084A-A6A0-8D869D7C3D39}" dt="2023-12-15T10:24:23.559" v="272" actId="478"/>
          <ac:spMkLst>
            <pc:docMk/>
            <pc:sldMk cId="2753883895" sldId="259"/>
            <ac:spMk id="39" creationId="{D361B2BA-EC16-D871-5D97-2A43F3E6B126}"/>
          </ac:spMkLst>
        </pc:spChg>
        <pc:spChg chg="add del mod">
          <ac:chgData name="DAVIDE CHENGRUI XIE" userId="3b3d0da2-60e6-4fc0-b387-ffa1f6840bb5" providerId="ADAL" clId="{BE6FD575-DE93-084A-A6A0-8D869D7C3D39}" dt="2023-12-15T10:24:23.559" v="272" actId="478"/>
          <ac:spMkLst>
            <pc:docMk/>
            <pc:sldMk cId="2753883895" sldId="259"/>
            <ac:spMk id="40" creationId="{7D8BFBB0-9878-A9F2-B772-1186D75819D5}"/>
          </ac:spMkLst>
        </pc:spChg>
        <pc:spChg chg="add del mod">
          <ac:chgData name="DAVIDE CHENGRUI XIE" userId="3b3d0da2-60e6-4fc0-b387-ffa1f6840bb5" providerId="ADAL" clId="{BE6FD575-DE93-084A-A6A0-8D869D7C3D39}" dt="2023-12-15T10:24:23.559" v="272" actId="478"/>
          <ac:spMkLst>
            <pc:docMk/>
            <pc:sldMk cId="2753883895" sldId="259"/>
            <ac:spMk id="41" creationId="{DBBF8EE9-E0CD-1666-819B-4B2E29ADD878}"/>
          </ac:spMkLst>
        </pc:spChg>
        <pc:spChg chg="add del mod">
          <ac:chgData name="DAVIDE CHENGRUI XIE" userId="3b3d0da2-60e6-4fc0-b387-ffa1f6840bb5" providerId="ADAL" clId="{BE6FD575-DE93-084A-A6A0-8D869D7C3D39}" dt="2023-12-15T10:24:27.287" v="273" actId="478"/>
          <ac:spMkLst>
            <pc:docMk/>
            <pc:sldMk cId="2753883895" sldId="259"/>
            <ac:spMk id="42" creationId="{F69FF601-BA49-11BB-F417-03B80C34D7AA}"/>
          </ac:spMkLst>
        </pc:spChg>
        <pc:picChg chg="mod">
          <ac:chgData name="DAVIDE CHENGRUI XIE" userId="3b3d0da2-60e6-4fc0-b387-ffa1f6840bb5" providerId="ADAL" clId="{BE6FD575-DE93-084A-A6A0-8D869D7C3D39}" dt="2023-12-15T09:56:35.690" v="2" actId="1076"/>
          <ac:picMkLst>
            <pc:docMk/>
            <pc:sldMk cId="2753883895" sldId="259"/>
            <ac:picMk id="33" creationId="{4CC9F346-BBE9-639E-C57B-F59FDC6BAEB6}"/>
          </ac:picMkLst>
        </pc:picChg>
        <pc:picChg chg="mod">
          <ac:chgData name="DAVIDE CHENGRUI XIE" userId="3b3d0da2-60e6-4fc0-b387-ffa1f6840bb5" providerId="ADAL" clId="{BE6FD575-DE93-084A-A6A0-8D869D7C3D39}" dt="2023-12-15T09:56:54.144" v="3" actId="1076"/>
          <ac:picMkLst>
            <pc:docMk/>
            <pc:sldMk cId="2753883895" sldId="259"/>
            <ac:picMk id="35" creationId="{1567A47F-64C5-A0CA-2EF6-E89CC2B426B4}"/>
          </ac:picMkLst>
        </pc:picChg>
        <pc:picChg chg="add del mod">
          <ac:chgData name="DAVIDE CHENGRUI XIE" userId="3b3d0da2-60e6-4fc0-b387-ffa1f6840bb5" providerId="ADAL" clId="{BE6FD575-DE93-084A-A6A0-8D869D7C3D39}" dt="2023-12-15T10:24:23.559" v="272" actId="478"/>
          <ac:picMkLst>
            <pc:docMk/>
            <pc:sldMk cId="2753883895" sldId="259"/>
            <ac:picMk id="43" creationId="{07E51E37-8915-C61E-3D9F-EC385286D727}"/>
          </ac:picMkLst>
        </pc:picChg>
        <pc:picChg chg="add del mod">
          <ac:chgData name="DAVIDE CHENGRUI XIE" userId="3b3d0da2-60e6-4fc0-b387-ffa1f6840bb5" providerId="ADAL" clId="{BE6FD575-DE93-084A-A6A0-8D869D7C3D39}" dt="2023-12-15T10:24:23.559" v="272" actId="478"/>
          <ac:picMkLst>
            <pc:docMk/>
            <pc:sldMk cId="2753883895" sldId="259"/>
            <ac:picMk id="44" creationId="{4F4D338D-527F-B1C6-4B38-7EEE05602BEE}"/>
          </ac:picMkLst>
        </pc:picChg>
        <pc:picChg chg="add del mod">
          <ac:chgData name="DAVIDE CHENGRUI XIE" userId="3b3d0da2-60e6-4fc0-b387-ffa1f6840bb5" providerId="ADAL" clId="{BE6FD575-DE93-084A-A6A0-8D869D7C3D39}" dt="2023-12-15T10:24:23.559" v="272" actId="478"/>
          <ac:picMkLst>
            <pc:docMk/>
            <pc:sldMk cId="2753883895" sldId="259"/>
            <ac:picMk id="45" creationId="{BB7566EC-D417-9B5B-66BD-E53FD2CDD29D}"/>
          </ac:picMkLst>
        </pc:picChg>
        <pc:picChg chg="add del mod">
          <ac:chgData name="DAVIDE CHENGRUI XIE" userId="3b3d0da2-60e6-4fc0-b387-ffa1f6840bb5" providerId="ADAL" clId="{BE6FD575-DE93-084A-A6A0-8D869D7C3D39}" dt="2023-12-15T10:24:23.559" v="272" actId="478"/>
          <ac:picMkLst>
            <pc:docMk/>
            <pc:sldMk cId="2753883895" sldId="259"/>
            <ac:picMk id="46" creationId="{B5497193-2914-1CBD-5332-5E155F01B678}"/>
          </ac:picMkLst>
        </pc:picChg>
      </pc:sldChg>
      <pc:sldChg chg="addSp delSp modSp mod modTransition">
        <pc:chgData name="DAVIDE CHENGRUI XIE" userId="3b3d0da2-60e6-4fc0-b387-ffa1f6840bb5" providerId="ADAL" clId="{BE6FD575-DE93-084A-A6A0-8D869D7C3D39}" dt="2023-12-15T10:46:07.136" v="1409" actId="1076"/>
        <pc:sldMkLst>
          <pc:docMk/>
          <pc:sldMk cId="129447240" sldId="260"/>
        </pc:sldMkLst>
        <pc:spChg chg="mod">
          <ac:chgData name="DAVIDE CHENGRUI XIE" userId="3b3d0da2-60e6-4fc0-b387-ffa1f6840bb5" providerId="ADAL" clId="{BE6FD575-DE93-084A-A6A0-8D869D7C3D39}" dt="2023-12-15T10:44:15.224" v="1255" actId="1076"/>
          <ac:spMkLst>
            <pc:docMk/>
            <pc:sldMk cId="129447240" sldId="260"/>
            <ac:spMk id="3" creationId="{C9514AEE-C107-6AB5-B139-8087389ED5A3}"/>
          </ac:spMkLst>
        </pc:spChg>
        <pc:spChg chg="mod">
          <ac:chgData name="DAVIDE CHENGRUI XIE" userId="3b3d0da2-60e6-4fc0-b387-ffa1f6840bb5" providerId="ADAL" clId="{BE6FD575-DE93-084A-A6A0-8D869D7C3D39}" dt="2023-12-15T10:37:07.717" v="1089" actId="1076"/>
          <ac:spMkLst>
            <pc:docMk/>
            <pc:sldMk cId="129447240" sldId="260"/>
            <ac:spMk id="4" creationId="{8557FA60-8E7B-4813-07FA-96F15D45F59F}"/>
          </ac:spMkLst>
        </pc:spChg>
        <pc:spChg chg="add del mod">
          <ac:chgData name="DAVIDE CHENGRUI XIE" userId="3b3d0da2-60e6-4fc0-b387-ffa1f6840bb5" providerId="ADAL" clId="{BE6FD575-DE93-084A-A6A0-8D869D7C3D39}" dt="2023-12-15T10:03:58.906" v="67" actId="478"/>
          <ac:spMkLst>
            <pc:docMk/>
            <pc:sldMk cId="129447240" sldId="260"/>
            <ac:spMk id="9" creationId="{FD5F84F7-7A2D-7788-AAA5-06F6737DCEB5}"/>
          </ac:spMkLst>
        </pc:spChg>
        <pc:spChg chg="add del mod">
          <ac:chgData name="DAVIDE CHENGRUI XIE" userId="3b3d0da2-60e6-4fc0-b387-ffa1f6840bb5" providerId="ADAL" clId="{BE6FD575-DE93-084A-A6A0-8D869D7C3D39}" dt="2023-12-15T10:03:05.698" v="47" actId="478"/>
          <ac:spMkLst>
            <pc:docMk/>
            <pc:sldMk cId="129447240" sldId="260"/>
            <ac:spMk id="10" creationId="{3FBA51E5-44C4-A572-9FE7-DDA675E212A1}"/>
          </ac:spMkLst>
        </pc:spChg>
        <pc:spChg chg="add del mod">
          <ac:chgData name="DAVIDE CHENGRUI XIE" userId="3b3d0da2-60e6-4fc0-b387-ffa1f6840bb5" providerId="ADAL" clId="{BE6FD575-DE93-084A-A6A0-8D869D7C3D39}" dt="2023-12-15T10:03:12.893" v="50" actId="478"/>
          <ac:spMkLst>
            <pc:docMk/>
            <pc:sldMk cId="129447240" sldId="260"/>
            <ac:spMk id="11" creationId="{5EB3358B-B88E-F90B-4818-7804EEA14861}"/>
          </ac:spMkLst>
        </pc:spChg>
        <pc:spChg chg="add del mod">
          <ac:chgData name="DAVIDE CHENGRUI XIE" userId="3b3d0da2-60e6-4fc0-b387-ffa1f6840bb5" providerId="ADAL" clId="{BE6FD575-DE93-084A-A6A0-8D869D7C3D39}" dt="2023-12-15T10:03:59.706" v="68" actId="478"/>
          <ac:spMkLst>
            <pc:docMk/>
            <pc:sldMk cId="129447240" sldId="260"/>
            <ac:spMk id="12" creationId="{19882AAE-7781-F304-8CE5-396B0B97219A}"/>
          </ac:spMkLst>
        </pc:spChg>
        <pc:spChg chg="add del mod">
          <ac:chgData name="DAVIDE CHENGRUI XIE" userId="3b3d0da2-60e6-4fc0-b387-ffa1f6840bb5" providerId="ADAL" clId="{BE6FD575-DE93-084A-A6A0-8D869D7C3D39}" dt="2023-12-15T10:04:00.716" v="69" actId="478"/>
          <ac:spMkLst>
            <pc:docMk/>
            <pc:sldMk cId="129447240" sldId="260"/>
            <ac:spMk id="13" creationId="{BC36A259-3189-A5EA-721D-C2CDAC2BE6DD}"/>
          </ac:spMkLst>
        </pc:spChg>
        <pc:spChg chg="add del mod">
          <ac:chgData name="DAVIDE CHENGRUI XIE" userId="3b3d0da2-60e6-4fc0-b387-ffa1f6840bb5" providerId="ADAL" clId="{BE6FD575-DE93-084A-A6A0-8D869D7C3D39}" dt="2023-12-15T10:04:01.976" v="70" actId="478"/>
          <ac:spMkLst>
            <pc:docMk/>
            <pc:sldMk cId="129447240" sldId="260"/>
            <ac:spMk id="14" creationId="{214A437E-69E5-DC1A-94AA-72F8EAF31C98}"/>
          </ac:spMkLst>
        </pc:spChg>
        <pc:spChg chg="add mod">
          <ac:chgData name="DAVIDE CHENGRUI XIE" userId="3b3d0da2-60e6-4fc0-b387-ffa1f6840bb5" providerId="ADAL" clId="{BE6FD575-DE93-084A-A6A0-8D869D7C3D39}" dt="2023-12-15T10:46:07.136" v="1409" actId="1076"/>
          <ac:spMkLst>
            <pc:docMk/>
            <pc:sldMk cId="129447240" sldId="260"/>
            <ac:spMk id="15" creationId="{DD044F44-C09A-50FC-1BE7-2DC47B873350}"/>
          </ac:spMkLst>
        </pc:spChg>
        <pc:spChg chg="add mod">
          <ac:chgData name="DAVIDE CHENGRUI XIE" userId="3b3d0da2-60e6-4fc0-b387-ffa1f6840bb5" providerId="ADAL" clId="{BE6FD575-DE93-084A-A6A0-8D869D7C3D39}" dt="2023-12-15T10:44:15.224" v="1255" actId="1076"/>
          <ac:spMkLst>
            <pc:docMk/>
            <pc:sldMk cId="129447240" sldId="260"/>
            <ac:spMk id="16" creationId="{124CC902-EB04-EAF3-9928-993B4CDB75C2}"/>
          </ac:spMkLst>
        </pc:spChg>
        <pc:spChg chg="add mod">
          <ac:chgData name="DAVIDE CHENGRUI XIE" userId="3b3d0da2-60e6-4fc0-b387-ffa1f6840bb5" providerId="ADAL" clId="{BE6FD575-DE93-084A-A6A0-8D869D7C3D39}" dt="2023-12-15T10:44:15.224" v="1255" actId="1076"/>
          <ac:spMkLst>
            <pc:docMk/>
            <pc:sldMk cId="129447240" sldId="260"/>
            <ac:spMk id="17" creationId="{C924E64A-175C-6354-A4E4-D0F29167AAE4}"/>
          </ac:spMkLst>
        </pc:spChg>
        <pc:spChg chg="add mod">
          <ac:chgData name="DAVIDE CHENGRUI XIE" userId="3b3d0da2-60e6-4fc0-b387-ffa1f6840bb5" providerId="ADAL" clId="{BE6FD575-DE93-084A-A6A0-8D869D7C3D39}" dt="2023-12-15T10:44:15.224" v="1255" actId="1076"/>
          <ac:spMkLst>
            <pc:docMk/>
            <pc:sldMk cId="129447240" sldId="260"/>
            <ac:spMk id="18" creationId="{1A814310-AEE1-7B53-8BC6-A037FDF29403}"/>
          </ac:spMkLst>
        </pc:spChg>
        <pc:spChg chg="add del mod">
          <ac:chgData name="DAVIDE CHENGRUI XIE" userId="3b3d0da2-60e6-4fc0-b387-ffa1f6840bb5" providerId="ADAL" clId="{BE6FD575-DE93-084A-A6A0-8D869D7C3D39}" dt="2023-12-15T10:19:50.462" v="173"/>
          <ac:spMkLst>
            <pc:docMk/>
            <pc:sldMk cId="129447240" sldId="260"/>
            <ac:spMk id="23" creationId="{0B5A8ABC-B50D-8695-4FB4-E9BC11F68304}"/>
          </ac:spMkLst>
        </pc:spChg>
        <pc:spChg chg="add del mod">
          <ac:chgData name="DAVIDE CHENGRUI XIE" userId="3b3d0da2-60e6-4fc0-b387-ffa1f6840bb5" providerId="ADAL" clId="{BE6FD575-DE93-084A-A6A0-8D869D7C3D39}" dt="2023-12-15T10:20:00.350" v="175" actId="478"/>
          <ac:spMkLst>
            <pc:docMk/>
            <pc:sldMk cId="129447240" sldId="260"/>
            <ac:spMk id="24" creationId="{78FF9FEF-9A47-5B05-B6EC-F26788FC10E5}"/>
          </ac:spMkLst>
        </pc:spChg>
        <pc:spChg chg="add del mod">
          <ac:chgData name="DAVIDE CHENGRUI XIE" userId="3b3d0da2-60e6-4fc0-b387-ffa1f6840bb5" providerId="ADAL" clId="{BE6FD575-DE93-084A-A6A0-8D869D7C3D39}" dt="2023-12-15T10:20:27.406" v="178"/>
          <ac:spMkLst>
            <pc:docMk/>
            <pc:sldMk cId="129447240" sldId="260"/>
            <ac:spMk id="25" creationId="{3199C2D4-CFF7-6801-AD67-F5B5DA27235A}"/>
          </ac:spMkLst>
        </pc:spChg>
        <pc:spChg chg="add mod">
          <ac:chgData name="DAVIDE CHENGRUI XIE" userId="3b3d0da2-60e6-4fc0-b387-ffa1f6840bb5" providerId="ADAL" clId="{BE6FD575-DE93-084A-A6A0-8D869D7C3D39}" dt="2023-12-15T10:39:49.570" v="1103" actId="20577"/>
          <ac:spMkLst>
            <pc:docMk/>
            <pc:sldMk cId="129447240" sldId="260"/>
            <ac:spMk id="26" creationId="{B2405B76-19DE-8C6E-F40A-AC088BF2A0A4}"/>
          </ac:spMkLst>
        </pc:spChg>
        <pc:spChg chg="add mod">
          <ac:chgData name="DAVIDE CHENGRUI XIE" userId="3b3d0da2-60e6-4fc0-b387-ffa1f6840bb5" providerId="ADAL" clId="{BE6FD575-DE93-084A-A6A0-8D869D7C3D39}" dt="2023-12-15T10:44:15.224" v="1255" actId="1076"/>
          <ac:spMkLst>
            <pc:docMk/>
            <pc:sldMk cId="129447240" sldId="260"/>
            <ac:spMk id="27" creationId="{AE69EEC9-DA6A-799C-AA6B-D7F54B8157B9}"/>
          </ac:spMkLst>
        </pc:spChg>
        <pc:spChg chg="add del mod">
          <ac:chgData name="DAVIDE CHENGRUI XIE" userId="3b3d0da2-60e6-4fc0-b387-ffa1f6840bb5" providerId="ADAL" clId="{BE6FD575-DE93-084A-A6A0-8D869D7C3D39}" dt="2023-12-15T10:25:29.217" v="308"/>
          <ac:spMkLst>
            <pc:docMk/>
            <pc:sldMk cId="129447240" sldId="260"/>
            <ac:spMk id="28" creationId="{25EE91F0-5BED-B6F7-E9A4-3F7791C810EA}"/>
          </ac:spMkLst>
        </pc:spChg>
        <pc:spChg chg="add del mod">
          <ac:chgData name="DAVIDE CHENGRUI XIE" userId="3b3d0da2-60e6-4fc0-b387-ffa1f6840bb5" providerId="ADAL" clId="{BE6FD575-DE93-084A-A6A0-8D869D7C3D39}" dt="2023-12-15T10:25:29.217" v="308"/>
          <ac:spMkLst>
            <pc:docMk/>
            <pc:sldMk cId="129447240" sldId="260"/>
            <ac:spMk id="29" creationId="{955DDFBE-3720-E575-6CD3-DE0B01A925A3}"/>
          </ac:spMkLst>
        </pc:spChg>
        <pc:spChg chg="add del mod">
          <ac:chgData name="DAVIDE CHENGRUI XIE" userId="3b3d0da2-60e6-4fc0-b387-ffa1f6840bb5" providerId="ADAL" clId="{BE6FD575-DE93-084A-A6A0-8D869D7C3D39}" dt="2023-12-15T10:25:29.217" v="308"/>
          <ac:spMkLst>
            <pc:docMk/>
            <pc:sldMk cId="129447240" sldId="260"/>
            <ac:spMk id="30" creationId="{E46685BE-BC7A-312B-6E6F-D30C48172C11}"/>
          </ac:spMkLst>
        </pc:spChg>
        <pc:spChg chg="add del mod">
          <ac:chgData name="DAVIDE CHENGRUI XIE" userId="3b3d0da2-60e6-4fc0-b387-ffa1f6840bb5" providerId="ADAL" clId="{BE6FD575-DE93-084A-A6A0-8D869D7C3D39}" dt="2023-12-15T10:25:29.217" v="308"/>
          <ac:spMkLst>
            <pc:docMk/>
            <pc:sldMk cId="129447240" sldId="260"/>
            <ac:spMk id="31" creationId="{1C8ABA03-F420-E350-67DF-E4BD0318CB54}"/>
          </ac:spMkLst>
        </pc:spChg>
        <pc:spChg chg="add mod">
          <ac:chgData name="DAVIDE CHENGRUI XIE" userId="3b3d0da2-60e6-4fc0-b387-ffa1f6840bb5" providerId="ADAL" clId="{BE6FD575-DE93-084A-A6A0-8D869D7C3D39}" dt="2023-12-15T10:44:15.224" v="1255" actId="1076"/>
          <ac:spMkLst>
            <pc:docMk/>
            <pc:sldMk cId="129447240" sldId="260"/>
            <ac:spMk id="36" creationId="{5D2DE659-50F4-BAA1-2B64-FC0828E4E69A}"/>
          </ac:spMkLst>
        </pc:spChg>
        <pc:spChg chg="add mod">
          <ac:chgData name="DAVIDE CHENGRUI XIE" userId="3b3d0da2-60e6-4fc0-b387-ffa1f6840bb5" providerId="ADAL" clId="{BE6FD575-DE93-084A-A6A0-8D869D7C3D39}" dt="2023-12-15T10:44:15.224" v="1255" actId="1076"/>
          <ac:spMkLst>
            <pc:docMk/>
            <pc:sldMk cId="129447240" sldId="260"/>
            <ac:spMk id="37" creationId="{CE524306-201C-E549-01C5-6E653D02B922}"/>
          </ac:spMkLst>
        </pc:spChg>
        <pc:spChg chg="add mod">
          <ac:chgData name="DAVIDE CHENGRUI XIE" userId="3b3d0da2-60e6-4fc0-b387-ffa1f6840bb5" providerId="ADAL" clId="{BE6FD575-DE93-084A-A6A0-8D869D7C3D39}" dt="2023-12-15T10:44:15.224" v="1255" actId="1076"/>
          <ac:spMkLst>
            <pc:docMk/>
            <pc:sldMk cId="129447240" sldId="260"/>
            <ac:spMk id="38" creationId="{0BEB055D-0595-4EE8-14D3-40E32434AE5B}"/>
          </ac:spMkLst>
        </pc:spChg>
        <pc:spChg chg="add mod">
          <ac:chgData name="DAVIDE CHENGRUI XIE" userId="3b3d0da2-60e6-4fc0-b387-ffa1f6840bb5" providerId="ADAL" clId="{BE6FD575-DE93-084A-A6A0-8D869D7C3D39}" dt="2023-12-15T10:44:15.224" v="1255" actId="1076"/>
          <ac:spMkLst>
            <pc:docMk/>
            <pc:sldMk cId="129447240" sldId="260"/>
            <ac:spMk id="39" creationId="{DB7659EA-C5E7-5965-49C1-B8538B17C4CC}"/>
          </ac:spMkLst>
        </pc:spChg>
        <pc:spChg chg="add del mod">
          <ac:chgData name="DAVIDE CHENGRUI XIE" userId="3b3d0da2-60e6-4fc0-b387-ffa1f6840bb5" providerId="ADAL" clId="{BE6FD575-DE93-084A-A6A0-8D869D7C3D39}" dt="2023-12-15T10:31:03.201" v="591"/>
          <ac:spMkLst>
            <pc:docMk/>
            <pc:sldMk cId="129447240" sldId="260"/>
            <ac:spMk id="40" creationId="{E784CF0C-5659-F4B6-B53C-3AAAB4F27C45}"/>
          </ac:spMkLst>
        </pc:spChg>
        <pc:spChg chg="add mod">
          <ac:chgData name="DAVIDE CHENGRUI XIE" userId="3b3d0da2-60e6-4fc0-b387-ffa1f6840bb5" providerId="ADAL" clId="{BE6FD575-DE93-084A-A6A0-8D869D7C3D39}" dt="2023-12-15T10:44:15.224" v="1255" actId="1076"/>
          <ac:spMkLst>
            <pc:docMk/>
            <pc:sldMk cId="129447240" sldId="260"/>
            <ac:spMk id="41" creationId="{45C16CD0-7CFD-9F44-B178-8C35122DDF71}"/>
          </ac:spMkLst>
        </pc:spChg>
        <pc:spChg chg="add mod">
          <ac:chgData name="DAVIDE CHENGRUI XIE" userId="3b3d0da2-60e6-4fc0-b387-ffa1f6840bb5" providerId="ADAL" clId="{BE6FD575-DE93-084A-A6A0-8D869D7C3D39}" dt="2023-12-15T10:44:15.224" v="1255" actId="1076"/>
          <ac:spMkLst>
            <pc:docMk/>
            <pc:sldMk cId="129447240" sldId="260"/>
            <ac:spMk id="42" creationId="{2F9F4A45-EFD0-3B52-A2D1-5F3568CF3937}"/>
          </ac:spMkLst>
        </pc:spChg>
        <pc:spChg chg="add mod">
          <ac:chgData name="DAVIDE CHENGRUI XIE" userId="3b3d0da2-60e6-4fc0-b387-ffa1f6840bb5" providerId="ADAL" clId="{BE6FD575-DE93-084A-A6A0-8D869D7C3D39}" dt="2023-12-15T10:44:15.224" v="1255" actId="1076"/>
          <ac:spMkLst>
            <pc:docMk/>
            <pc:sldMk cId="129447240" sldId="260"/>
            <ac:spMk id="43" creationId="{2E0CB68F-8245-9C6D-EE13-9284D13FF5AE}"/>
          </ac:spMkLst>
        </pc:spChg>
        <pc:picChg chg="add mod">
          <ac:chgData name="DAVIDE CHENGRUI XIE" userId="3b3d0da2-60e6-4fc0-b387-ffa1f6840bb5" providerId="ADAL" clId="{BE6FD575-DE93-084A-A6A0-8D869D7C3D39}" dt="2023-12-15T10:44:15.224" v="1255" actId="1076"/>
          <ac:picMkLst>
            <pc:docMk/>
            <pc:sldMk cId="129447240" sldId="260"/>
            <ac:picMk id="19" creationId="{F279C963-FB9D-927E-3AC6-EB4AABA4BF9A}"/>
          </ac:picMkLst>
        </pc:picChg>
        <pc:picChg chg="add mod">
          <ac:chgData name="DAVIDE CHENGRUI XIE" userId="3b3d0da2-60e6-4fc0-b387-ffa1f6840bb5" providerId="ADAL" clId="{BE6FD575-DE93-084A-A6A0-8D869D7C3D39}" dt="2023-12-15T10:44:15.224" v="1255" actId="1076"/>
          <ac:picMkLst>
            <pc:docMk/>
            <pc:sldMk cId="129447240" sldId="260"/>
            <ac:picMk id="20" creationId="{FB4CA64F-957C-3E6A-A7C6-BBD7734D390A}"/>
          </ac:picMkLst>
        </pc:picChg>
        <pc:picChg chg="add mod">
          <ac:chgData name="DAVIDE CHENGRUI XIE" userId="3b3d0da2-60e6-4fc0-b387-ffa1f6840bb5" providerId="ADAL" clId="{BE6FD575-DE93-084A-A6A0-8D869D7C3D39}" dt="2023-12-15T10:44:15.224" v="1255" actId="1076"/>
          <ac:picMkLst>
            <pc:docMk/>
            <pc:sldMk cId="129447240" sldId="260"/>
            <ac:picMk id="21" creationId="{17801260-E037-E6DC-D0C2-9E7F8C93FE0C}"/>
          </ac:picMkLst>
        </pc:picChg>
        <pc:picChg chg="add mod">
          <ac:chgData name="DAVIDE CHENGRUI XIE" userId="3b3d0da2-60e6-4fc0-b387-ffa1f6840bb5" providerId="ADAL" clId="{BE6FD575-DE93-084A-A6A0-8D869D7C3D39}" dt="2023-12-15T10:44:15.224" v="1255" actId="1076"/>
          <ac:picMkLst>
            <pc:docMk/>
            <pc:sldMk cId="129447240" sldId="260"/>
            <ac:picMk id="22" creationId="{7C6FE8AB-D5FD-88C1-DB99-D2068B3FFE2E}"/>
          </ac:picMkLst>
        </pc:picChg>
        <pc:picChg chg="add del mod">
          <ac:chgData name="DAVIDE CHENGRUI XIE" userId="3b3d0da2-60e6-4fc0-b387-ffa1f6840bb5" providerId="ADAL" clId="{BE6FD575-DE93-084A-A6A0-8D869D7C3D39}" dt="2023-12-15T10:25:29.217" v="308"/>
          <ac:picMkLst>
            <pc:docMk/>
            <pc:sldMk cId="129447240" sldId="260"/>
            <ac:picMk id="32" creationId="{7E6B7EE9-D267-492B-D116-4C61F36A3AF3}"/>
          </ac:picMkLst>
        </pc:picChg>
        <pc:picChg chg="add del mod">
          <ac:chgData name="DAVIDE CHENGRUI XIE" userId="3b3d0da2-60e6-4fc0-b387-ffa1f6840bb5" providerId="ADAL" clId="{BE6FD575-DE93-084A-A6A0-8D869D7C3D39}" dt="2023-12-15T10:25:29.217" v="308"/>
          <ac:picMkLst>
            <pc:docMk/>
            <pc:sldMk cId="129447240" sldId="260"/>
            <ac:picMk id="33" creationId="{92622E1E-DEE2-FE35-E78C-E9DBB05887B9}"/>
          </ac:picMkLst>
        </pc:picChg>
        <pc:picChg chg="add del mod">
          <ac:chgData name="DAVIDE CHENGRUI XIE" userId="3b3d0da2-60e6-4fc0-b387-ffa1f6840bb5" providerId="ADAL" clId="{BE6FD575-DE93-084A-A6A0-8D869D7C3D39}" dt="2023-12-15T10:25:29.217" v="308"/>
          <ac:picMkLst>
            <pc:docMk/>
            <pc:sldMk cId="129447240" sldId="260"/>
            <ac:picMk id="34" creationId="{396B42A0-8732-2500-9D91-D0D5343DD3D8}"/>
          </ac:picMkLst>
        </pc:picChg>
        <pc:picChg chg="add del mod">
          <ac:chgData name="DAVIDE CHENGRUI XIE" userId="3b3d0da2-60e6-4fc0-b387-ffa1f6840bb5" providerId="ADAL" clId="{BE6FD575-DE93-084A-A6A0-8D869D7C3D39}" dt="2023-12-15T10:25:29.217" v="308"/>
          <ac:picMkLst>
            <pc:docMk/>
            <pc:sldMk cId="129447240" sldId="260"/>
            <ac:picMk id="35" creationId="{F9364984-8A48-97D4-5510-ADC971653A31}"/>
          </ac:picMkLst>
        </pc:picChg>
      </pc:sldChg>
      <pc:sldChg chg="addSp modSp add del mod">
        <pc:chgData name="DAVIDE CHENGRUI XIE" userId="3b3d0da2-60e6-4fc0-b387-ffa1f6840bb5" providerId="ADAL" clId="{BE6FD575-DE93-084A-A6A0-8D869D7C3D39}" dt="2023-12-15T10:42:35.724" v="1233" actId="2696"/>
        <pc:sldMkLst>
          <pc:docMk/>
          <pc:sldMk cId="2868216139" sldId="261"/>
        </pc:sldMkLst>
        <pc:spChg chg="add mod">
          <ac:chgData name="DAVIDE CHENGRUI XIE" userId="3b3d0da2-60e6-4fc0-b387-ffa1f6840bb5" providerId="ADAL" clId="{BE6FD575-DE93-084A-A6A0-8D869D7C3D39}" dt="2023-12-15T10:41:08.286" v="1189" actId="255"/>
          <ac:spMkLst>
            <pc:docMk/>
            <pc:sldMk cId="2868216139" sldId="261"/>
            <ac:spMk id="5" creationId="{EB08DD57-4335-CD0A-5700-EC1A086E27B5}"/>
          </ac:spMkLst>
        </pc:spChg>
        <pc:spChg chg="mod">
          <ac:chgData name="DAVIDE CHENGRUI XIE" userId="3b3d0da2-60e6-4fc0-b387-ffa1f6840bb5" providerId="ADAL" clId="{BE6FD575-DE93-084A-A6A0-8D869D7C3D39}" dt="2023-12-15T10:22:28.363" v="260" actId="1076"/>
          <ac:spMkLst>
            <pc:docMk/>
            <pc:sldMk cId="2868216139" sldId="261"/>
            <ac:spMk id="15" creationId="{DD044F44-C09A-50FC-1BE7-2DC47B873350}"/>
          </ac:spMkLst>
        </pc:spChg>
        <pc:spChg chg="mod">
          <ac:chgData name="DAVIDE CHENGRUI XIE" userId="3b3d0da2-60e6-4fc0-b387-ffa1f6840bb5" providerId="ADAL" clId="{BE6FD575-DE93-084A-A6A0-8D869D7C3D39}" dt="2023-12-15T10:40:15.640" v="1122" actId="20577"/>
          <ac:spMkLst>
            <pc:docMk/>
            <pc:sldMk cId="2868216139" sldId="261"/>
            <ac:spMk id="26" creationId="{B2405B76-19DE-8C6E-F40A-AC088BF2A0A4}"/>
          </ac:spMkLst>
        </pc:spChg>
        <pc:picChg chg="mod">
          <ac:chgData name="DAVIDE CHENGRUI XIE" userId="3b3d0da2-60e6-4fc0-b387-ffa1f6840bb5" providerId="ADAL" clId="{BE6FD575-DE93-084A-A6A0-8D869D7C3D39}" dt="2023-12-15T10:22:28.363" v="260" actId="1076"/>
          <ac:picMkLst>
            <pc:docMk/>
            <pc:sldMk cId="2868216139" sldId="261"/>
            <ac:picMk id="19" creationId="{F279C963-FB9D-927E-3AC6-EB4AABA4BF9A}"/>
          </ac:picMkLst>
        </pc:picChg>
      </pc:sldChg>
      <pc:sldChg chg="addSp delSp modSp add mod modTransition modAnim">
        <pc:chgData name="DAVIDE CHENGRUI XIE" userId="3b3d0da2-60e6-4fc0-b387-ffa1f6840bb5" providerId="ADAL" clId="{BE6FD575-DE93-084A-A6A0-8D869D7C3D39}" dt="2023-12-15T11:50:19.356" v="1537"/>
        <pc:sldMkLst>
          <pc:docMk/>
          <pc:sldMk cId="2389766656" sldId="262"/>
        </pc:sldMkLst>
        <pc:spChg chg="mod">
          <ac:chgData name="DAVIDE CHENGRUI XIE" userId="3b3d0da2-60e6-4fc0-b387-ffa1f6840bb5" providerId="ADAL" clId="{BE6FD575-DE93-084A-A6A0-8D869D7C3D39}" dt="2023-12-15T10:45:03.179" v="1260" actId="1076"/>
          <ac:spMkLst>
            <pc:docMk/>
            <pc:sldMk cId="2389766656" sldId="262"/>
            <ac:spMk id="3" creationId="{C9514AEE-C107-6AB5-B139-8087389ED5A3}"/>
          </ac:spMkLst>
        </pc:spChg>
        <pc:spChg chg="add mod">
          <ac:chgData name="DAVIDE CHENGRUI XIE" userId="3b3d0da2-60e6-4fc0-b387-ffa1f6840bb5" providerId="ADAL" clId="{BE6FD575-DE93-084A-A6A0-8D869D7C3D39}" dt="2023-12-15T10:49:59.199" v="1455" actId="20577"/>
          <ac:spMkLst>
            <pc:docMk/>
            <pc:sldMk cId="2389766656" sldId="262"/>
            <ac:spMk id="5" creationId="{1C5AF8B8-22F7-7173-7170-DEA3F6B4CE66}"/>
          </ac:spMkLst>
        </pc:spChg>
        <pc:spChg chg="add del mod">
          <ac:chgData name="DAVIDE CHENGRUI XIE" userId="3b3d0da2-60e6-4fc0-b387-ffa1f6840bb5" providerId="ADAL" clId="{BE6FD575-DE93-084A-A6A0-8D869D7C3D39}" dt="2023-12-15T10:48:32.167" v="1433"/>
          <ac:spMkLst>
            <pc:docMk/>
            <pc:sldMk cId="2389766656" sldId="262"/>
            <ac:spMk id="7" creationId="{9670FF73-B00A-1ACD-4998-C6E9AFED0771}"/>
          </ac:spMkLst>
        </pc:spChg>
        <pc:spChg chg="mod">
          <ac:chgData name="DAVIDE CHENGRUI XIE" userId="3b3d0da2-60e6-4fc0-b387-ffa1f6840bb5" providerId="ADAL" clId="{BE6FD575-DE93-084A-A6A0-8D869D7C3D39}" dt="2023-12-15T10:46:03.898" v="1408" actId="1076"/>
          <ac:spMkLst>
            <pc:docMk/>
            <pc:sldMk cId="2389766656" sldId="262"/>
            <ac:spMk id="15" creationId="{DD044F44-C09A-50FC-1BE7-2DC47B873350}"/>
          </ac:spMkLst>
        </pc:spChg>
        <pc:spChg chg="add del mod">
          <ac:chgData name="DAVIDE CHENGRUI XIE" userId="3b3d0da2-60e6-4fc0-b387-ffa1f6840bb5" providerId="ADAL" clId="{BE6FD575-DE93-084A-A6A0-8D869D7C3D39}" dt="2023-12-15T10:48:07.318" v="1427" actId="478"/>
          <ac:spMkLst>
            <pc:docMk/>
            <pc:sldMk cId="2389766656" sldId="262"/>
            <ac:spMk id="16" creationId="{124CC902-EB04-EAF3-9928-993B4CDB75C2}"/>
          </ac:spMkLst>
        </pc:spChg>
        <pc:spChg chg="mod">
          <ac:chgData name="DAVIDE CHENGRUI XIE" userId="3b3d0da2-60e6-4fc0-b387-ffa1f6840bb5" providerId="ADAL" clId="{BE6FD575-DE93-084A-A6A0-8D869D7C3D39}" dt="2023-12-15T10:45:03.179" v="1260" actId="1076"/>
          <ac:spMkLst>
            <pc:docMk/>
            <pc:sldMk cId="2389766656" sldId="262"/>
            <ac:spMk id="17" creationId="{C924E64A-175C-6354-A4E4-D0F29167AAE4}"/>
          </ac:spMkLst>
        </pc:spChg>
        <pc:spChg chg="mod">
          <ac:chgData name="DAVIDE CHENGRUI XIE" userId="3b3d0da2-60e6-4fc0-b387-ffa1f6840bb5" providerId="ADAL" clId="{BE6FD575-DE93-084A-A6A0-8D869D7C3D39}" dt="2023-12-15T10:45:03.179" v="1260" actId="1076"/>
          <ac:spMkLst>
            <pc:docMk/>
            <pc:sldMk cId="2389766656" sldId="262"/>
            <ac:spMk id="18" creationId="{1A814310-AEE1-7B53-8BC6-A037FDF29403}"/>
          </ac:spMkLst>
        </pc:spChg>
        <pc:spChg chg="mod">
          <ac:chgData name="DAVIDE CHENGRUI XIE" userId="3b3d0da2-60e6-4fc0-b387-ffa1f6840bb5" providerId="ADAL" clId="{BE6FD575-DE93-084A-A6A0-8D869D7C3D39}" dt="2023-12-15T10:42:29.950" v="1232" actId="20577"/>
          <ac:spMkLst>
            <pc:docMk/>
            <pc:sldMk cId="2389766656" sldId="262"/>
            <ac:spMk id="26" creationId="{B2405B76-19DE-8C6E-F40A-AC088BF2A0A4}"/>
          </ac:spMkLst>
        </pc:spChg>
        <pc:spChg chg="mod">
          <ac:chgData name="DAVIDE CHENGRUI XIE" userId="3b3d0da2-60e6-4fc0-b387-ffa1f6840bb5" providerId="ADAL" clId="{BE6FD575-DE93-084A-A6A0-8D869D7C3D39}" dt="2023-12-15T10:45:26.394" v="1291" actId="14100"/>
          <ac:spMkLst>
            <pc:docMk/>
            <pc:sldMk cId="2389766656" sldId="262"/>
            <ac:spMk id="27" creationId="{AE69EEC9-DA6A-799C-AA6B-D7F54B8157B9}"/>
          </ac:spMkLst>
        </pc:spChg>
        <pc:spChg chg="mod">
          <ac:chgData name="DAVIDE CHENGRUI XIE" userId="3b3d0da2-60e6-4fc0-b387-ffa1f6840bb5" providerId="ADAL" clId="{BE6FD575-DE93-084A-A6A0-8D869D7C3D39}" dt="2023-12-15T10:45:51.440" v="1380" actId="20577"/>
          <ac:spMkLst>
            <pc:docMk/>
            <pc:sldMk cId="2389766656" sldId="262"/>
            <ac:spMk id="36" creationId="{5D2DE659-50F4-BAA1-2B64-FC0828E4E69A}"/>
          </ac:spMkLst>
        </pc:spChg>
        <pc:spChg chg="mod">
          <ac:chgData name="DAVIDE CHENGRUI XIE" userId="3b3d0da2-60e6-4fc0-b387-ffa1f6840bb5" providerId="ADAL" clId="{BE6FD575-DE93-084A-A6A0-8D869D7C3D39}" dt="2023-12-15T10:45:34.430" v="1315" actId="20577"/>
          <ac:spMkLst>
            <pc:docMk/>
            <pc:sldMk cId="2389766656" sldId="262"/>
            <ac:spMk id="37" creationId="{CE524306-201C-E549-01C5-6E653D02B922}"/>
          </ac:spMkLst>
        </pc:spChg>
        <pc:spChg chg="mod">
          <ac:chgData name="DAVIDE CHENGRUI XIE" userId="3b3d0da2-60e6-4fc0-b387-ffa1f6840bb5" providerId="ADAL" clId="{BE6FD575-DE93-084A-A6A0-8D869D7C3D39}" dt="2023-12-15T10:45:58.343" v="1407" actId="20577"/>
          <ac:spMkLst>
            <pc:docMk/>
            <pc:sldMk cId="2389766656" sldId="262"/>
            <ac:spMk id="38" creationId="{0BEB055D-0595-4EE8-14D3-40E32434AE5B}"/>
          </ac:spMkLst>
        </pc:spChg>
        <pc:spChg chg="mod">
          <ac:chgData name="DAVIDE CHENGRUI XIE" userId="3b3d0da2-60e6-4fc0-b387-ffa1f6840bb5" providerId="ADAL" clId="{BE6FD575-DE93-084A-A6A0-8D869D7C3D39}" dt="2023-12-15T10:46:44.450" v="1413" actId="255"/>
          <ac:spMkLst>
            <pc:docMk/>
            <pc:sldMk cId="2389766656" sldId="262"/>
            <ac:spMk id="39" creationId="{DB7659EA-C5E7-5965-49C1-B8538B17C4CC}"/>
          </ac:spMkLst>
        </pc:spChg>
        <pc:spChg chg="mod">
          <ac:chgData name="DAVIDE CHENGRUI XIE" userId="3b3d0da2-60e6-4fc0-b387-ffa1f6840bb5" providerId="ADAL" clId="{BE6FD575-DE93-084A-A6A0-8D869D7C3D39}" dt="2023-12-15T10:47:19.552" v="1417" actId="1076"/>
          <ac:spMkLst>
            <pc:docMk/>
            <pc:sldMk cId="2389766656" sldId="262"/>
            <ac:spMk id="41" creationId="{45C16CD0-7CFD-9F44-B178-8C35122DDF71}"/>
          </ac:spMkLst>
        </pc:spChg>
        <pc:spChg chg="mod">
          <ac:chgData name="DAVIDE CHENGRUI XIE" userId="3b3d0da2-60e6-4fc0-b387-ffa1f6840bb5" providerId="ADAL" clId="{BE6FD575-DE93-084A-A6A0-8D869D7C3D39}" dt="2023-12-15T10:47:41.381" v="1421" actId="20577"/>
          <ac:spMkLst>
            <pc:docMk/>
            <pc:sldMk cId="2389766656" sldId="262"/>
            <ac:spMk id="42" creationId="{2F9F4A45-EFD0-3B52-A2D1-5F3568CF3937}"/>
          </ac:spMkLst>
        </pc:spChg>
        <pc:spChg chg="mod">
          <ac:chgData name="DAVIDE CHENGRUI XIE" userId="3b3d0da2-60e6-4fc0-b387-ffa1f6840bb5" providerId="ADAL" clId="{BE6FD575-DE93-084A-A6A0-8D869D7C3D39}" dt="2023-12-15T10:47:58.514" v="1424" actId="20577"/>
          <ac:spMkLst>
            <pc:docMk/>
            <pc:sldMk cId="2389766656" sldId="262"/>
            <ac:spMk id="43" creationId="{2E0CB68F-8245-9C6D-EE13-9284D13FF5AE}"/>
          </ac:spMkLst>
        </pc:spChg>
        <pc:picChg chg="add mod">
          <ac:chgData name="DAVIDE CHENGRUI XIE" userId="3b3d0da2-60e6-4fc0-b387-ffa1f6840bb5" providerId="ADAL" clId="{BE6FD575-DE93-084A-A6A0-8D869D7C3D39}" dt="2023-12-15T10:48:22.694" v="1431"/>
          <ac:picMkLst>
            <pc:docMk/>
            <pc:sldMk cId="2389766656" sldId="262"/>
            <ac:picMk id="6" creationId="{296B2C49-D82D-DF48-3406-26163BB3DA10}"/>
          </ac:picMkLst>
        </pc:picChg>
        <pc:picChg chg="add mod">
          <ac:chgData name="DAVIDE CHENGRUI XIE" userId="3b3d0da2-60e6-4fc0-b387-ffa1f6840bb5" providerId="ADAL" clId="{BE6FD575-DE93-084A-A6A0-8D869D7C3D39}" dt="2023-12-15T10:48:41.573" v="1435" actId="1076"/>
          <ac:picMkLst>
            <pc:docMk/>
            <pc:sldMk cId="2389766656" sldId="262"/>
            <ac:picMk id="8" creationId="{77993C91-A37D-14E7-81DA-679AE7DD9F3F}"/>
          </ac:picMkLst>
        </pc:picChg>
        <pc:picChg chg="add mod">
          <ac:chgData name="DAVIDE CHENGRUI XIE" userId="3b3d0da2-60e6-4fc0-b387-ffa1f6840bb5" providerId="ADAL" clId="{BE6FD575-DE93-084A-A6A0-8D869D7C3D39}" dt="2023-12-15T10:48:54.594" v="1438" actId="1076"/>
          <ac:picMkLst>
            <pc:docMk/>
            <pc:sldMk cId="2389766656" sldId="262"/>
            <ac:picMk id="9" creationId="{0B95A96A-41F7-AD0A-3F5D-3E18102615A8}"/>
          </ac:picMkLst>
        </pc:picChg>
        <pc:picChg chg="add mod">
          <ac:chgData name="DAVIDE CHENGRUI XIE" userId="3b3d0da2-60e6-4fc0-b387-ffa1f6840bb5" providerId="ADAL" clId="{BE6FD575-DE93-084A-A6A0-8D869D7C3D39}" dt="2023-12-15T10:49:06.283" v="1440" actId="1076"/>
          <ac:picMkLst>
            <pc:docMk/>
            <pc:sldMk cId="2389766656" sldId="262"/>
            <ac:picMk id="10" creationId="{A6795584-961D-6711-4983-E281011C4F38}"/>
          </ac:picMkLst>
        </pc:picChg>
        <pc:picChg chg="del mod">
          <ac:chgData name="DAVIDE CHENGRUI XIE" userId="3b3d0da2-60e6-4fc0-b387-ffa1f6840bb5" providerId="ADAL" clId="{BE6FD575-DE93-084A-A6A0-8D869D7C3D39}" dt="2023-12-15T10:48:04.943" v="1425" actId="478"/>
          <ac:picMkLst>
            <pc:docMk/>
            <pc:sldMk cId="2389766656" sldId="262"/>
            <ac:picMk id="19" creationId="{F279C963-FB9D-927E-3AC6-EB4AABA4BF9A}"/>
          </ac:picMkLst>
        </pc:picChg>
        <pc:picChg chg="del mod">
          <ac:chgData name="DAVIDE CHENGRUI XIE" userId="3b3d0da2-60e6-4fc0-b387-ffa1f6840bb5" providerId="ADAL" clId="{BE6FD575-DE93-084A-A6A0-8D869D7C3D39}" dt="2023-12-15T10:48:08.825" v="1428" actId="478"/>
          <ac:picMkLst>
            <pc:docMk/>
            <pc:sldMk cId="2389766656" sldId="262"/>
            <ac:picMk id="20" creationId="{FB4CA64F-957C-3E6A-A7C6-BBD7734D390A}"/>
          </ac:picMkLst>
        </pc:picChg>
        <pc:picChg chg="del mod">
          <ac:chgData name="DAVIDE CHENGRUI XIE" userId="3b3d0da2-60e6-4fc0-b387-ffa1f6840bb5" providerId="ADAL" clId="{BE6FD575-DE93-084A-A6A0-8D869D7C3D39}" dt="2023-12-15T10:48:10.140" v="1429" actId="478"/>
          <ac:picMkLst>
            <pc:docMk/>
            <pc:sldMk cId="2389766656" sldId="262"/>
            <ac:picMk id="21" creationId="{17801260-E037-E6DC-D0C2-9E7F8C93FE0C}"/>
          </ac:picMkLst>
        </pc:picChg>
        <pc:picChg chg="del mod">
          <ac:chgData name="DAVIDE CHENGRUI XIE" userId="3b3d0da2-60e6-4fc0-b387-ffa1f6840bb5" providerId="ADAL" clId="{BE6FD575-DE93-084A-A6A0-8D869D7C3D39}" dt="2023-12-15T10:48:11.278" v="1430" actId="478"/>
          <ac:picMkLst>
            <pc:docMk/>
            <pc:sldMk cId="2389766656" sldId="262"/>
            <ac:picMk id="22" creationId="{7C6FE8AB-D5FD-88C1-DB99-D2068B3FFE2E}"/>
          </ac:picMkLst>
        </pc:picChg>
      </pc:sldChg>
      <pc:sldChg chg="addSp delSp modSp mod modTransition">
        <pc:chgData name="DAVIDE CHENGRUI XIE" userId="3b3d0da2-60e6-4fc0-b387-ffa1f6840bb5" providerId="ADAL" clId="{BE6FD575-DE93-084A-A6A0-8D869D7C3D39}" dt="2023-12-15T11:54:28.250" v="1581" actId="478"/>
        <pc:sldMkLst>
          <pc:docMk/>
          <pc:sldMk cId="3648961791" sldId="2147473252"/>
        </pc:sldMkLst>
        <pc:spChg chg="add mod">
          <ac:chgData name="DAVIDE CHENGRUI XIE" userId="3b3d0da2-60e6-4fc0-b387-ffa1f6840bb5" providerId="ADAL" clId="{BE6FD575-DE93-084A-A6A0-8D869D7C3D39}" dt="2023-12-15T11:54:24.428" v="1579" actId="20577"/>
          <ac:spMkLst>
            <pc:docMk/>
            <pc:sldMk cId="3648961791" sldId="2147473252"/>
            <ac:spMk id="2" creationId="{A459C8E2-F0FE-2352-B053-1210BD87E10E}"/>
          </ac:spMkLst>
        </pc:spChg>
        <pc:spChg chg="add del mod">
          <ac:chgData name="DAVIDE CHENGRUI XIE" userId="3b3d0da2-60e6-4fc0-b387-ffa1f6840bb5" providerId="ADAL" clId="{BE6FD575-DE93-084A-A6A0-8D869D7C3D39}" dt="2023-12-15T11:54:28.250" v="1581" actId="478"/>
          <ac:spMkLst>
            <pc:docMk/>
            <pc:sldMk cId="3648961791" sldId="2147473252"/>
            <ac:spMk id="4" creationId="{4A5023B9-EB36-389E-E5EB-B99150C53C67}"/>
          </ac:spMkLst>
        </pc:spChg>
        <pc:spChg chg="mod">
          <ac:chgData name="DAVIDE CHENGRUI XIE" userId="3b3d0da2-60e6-4fc0-b387-ffa1f6840bb5" providerId="ADAL" clId="{BE6FD575-DE93-084A-A6A0-8D869D7C3D39}" dt="2023-12-15T11:54:04.223" v="1542" actId="1076"/>
          <ac:spMkLst>
            <pc:docMk/>
            <pc:sldMk cId="3648961791" sldId="2147473252"/>
            <ac:spMk id="6" creationId="{381DD666-CEE8-C939-D051-2F9C37569DD0}"/>
          </ac:spMkLst>
        </pc:spChg>
        <pc:spChg chg="mod">
          <ac:chgData name="DAVIDE CHENGRUI XIE" userId="3b3d0da2-60e6-4fc0-b387-ffa1f6840bb5" providerId="ADAL" clId="{BE6FD575-DE93-084A-A6A0-8D869D7C3D39}" dt="2023-12-15T11:54:04.223" v="1542" actId="1076"/>
          <ac:spMkLst>
            <pc:docMk/>
            <pc:sldMk cId="3648961791" sldId="2147473252"/>
            <ac:spMk id="8" creationId="{AE1223F7-7C5B-F6BD-564B-9EF2661E970A}"/>
          </ac:spMkLst>
        </pc:spChg>
        <pc:spChg chg="mod">
          <ac:chgData name="DAVIDE CHENGRUI XIE" userId="3b3d0da2-60e6-4fc0-b387-ffa1f6840bb5" providerId="ADAL" clId="{BE6FD575-DE93-084A-A6A0-8D869D7C3D39}" dt="2023-12-15T11:54:04.223" v="1542" actId="1076"/>
          <ac:spMkLst>
            <pc:docMk/>
            <pc:sldMk cId="3648961791" sldId="2147473252"/>
            <ac:spMk id="10" creationId="{BA896EF5-3DA1-FDA3-349B-8E3086E63D9F}"/>
          </ac:spMkLst>
        </pc:spChg>
        <pc:spChg chg="del">
          <ac:chgData name="DAVIDE CHENGRUI XIE" userId="3b3d0da2-60e6-4fc0-b387-ffa1f6840bb5" providerId="ADAL" clId="{BE6FD575-DE93-084A-A6A0-8D869D7C3D39}" dt="2023-12-15T11:53:41.219" v="1538" actId="478"/>
          <ac:spMkLst>
            <pc:docMk/>
            <pc:sldMk cId="3648961791" sldId="2147473252"/>
            <ac:spMk id="12" creationId="{BDD6E7F4-8AE4-C430-A936-1B5165D654B8}"/>
          </ac:spMkLst>
        </pc:spChg>
        <pc:spChg chg="mod">
          <ac:chgData name="DAVIDE CHENGRUI XIE" userId="3b3d0da2-60e6-4fc0-b387-ffa1f6840bb5" providerId="ADAL" clId="{BE6FD575-DE93-084A-A6A0-8D869D7C3D39}" dt="2023-12-15T11:54:04.223" v="1542" actId="1076"/>
          <ac:spMkLst>
            <pc:docMk/>
            <pc:sldMk cId="3648961791" sldId="2147473252"/>
            <ac:spMk id="18" creationId="{414B6868-FBBE-60A2-3F8D-589974CF94BD}"/>
          </ac:spMkLst>
        </pc:spChg>
        <pc:spChg chg="mod">
          <ac:chgData name="DAVIDE CHENGRUI XIE" userId="3b3d0da2-60e6-4fc0-b387-ffa1f6840bb5" providerId="ADAL" clId="{BE6FD575-DE93-084A-A6A0-8D869D7C3D39}" dt="2023-12-15T11:54:04.223" v="1542" actId="1076"/>
          <ac:spMkLst>
            <pc:docMk/>
            <pc:sldMk cId="3648961791" sldId="2147473252"/>
            <ac:spMk id="20" creationId="{FB3874E6-2C95-44CC-47C1-8878CF079739}"/>
          </ac:spMkLst>
        </pc:spChg>
        <pc:spChg chg="mod">
          <ac:chgData name="DAVIDE CHENGRUI XIE" userId="3b3d0da2-60e6-4fc0-b387-ffa1f6840bb5" providerId="ADAL" clId="{BE6FD575-DE93-084A-A6A0-8D869D7C3D39}" dt="2023-12-15T11:54:04.223" v="1542" actId="1076"/>
          <ac:spMkLst>
            <pc:docMk/>
            <pc:sldMk cId="3648961791" sldId="2147473252"/>
            <ac:spMk id="22" creationId="{21329C66-D7A7-778C-4715-2AC935E62235}"/>
          </ac:spMkLst>
        </pc:spChg>
        <pc:spChg chg="mod">
          <ac:chgData name="DAVIDE CHENGRUI XIE" userId="3b3d0da2-60e6-4fc0-b387-ffa1f6840bb5" providerId="ADAL" clId="{BE6FD575-DE93-084A-A6A0-8D869D7C3D39}" dt="2023-12-15T11:54:04.223" v="1542" actId="1076"/>
          <ac:spMkLst>
            <pc:docMk/>
            <pc:sldMk cId="3648961791" sldId="2147473252"/>
            <ac:spMk id="24" creationId="{1176338D-9E54-8E30-1EED-952BFD8E58EA}"/>
          </ac:spMkLst>
        </pc:spChg>
        <pc:spChg chg="mod">
          <ac:chgData name="DAVIDE CHENGRUI XIE" userId="3b3d0da2-60e6-4fc0-b387-ffa1f6840bb5" providerId="ADAL" clId="{BE6FD575-DE93-084A-A6A0-8D869D7C3D39}" dt="2023-12-15T11:54:04.223" v="1542" actId="1076"/>
          <ac:spMkLst>
            <pc:docMk/>
            <pc:sldMk cId="3648961791" sldId="2147473252"/>
            <ac:spMk id="25" creationId="{E153B634-449D-4A80-C7C3-145E3E843F64}"/>
          </ac:spMkLst>
        </pc:spChg>
        <pc:spChg chg="mod">
          <ac:chgData name="DAVIDE CHENGRUI XIE" userId="3b3d0da2-60e6-4fc0-b387-ffa1f6840bb5" providerId="ADAL" clId="{BE6FD575-DE93-084A-A6A0-8D869D7C3D39}" dt="2023-12-15T11:54:04.223" v="1542" actId="1076"/>
          <ac:spMkLst>
            <pc:docMk/>
            <pc:sldMk cId="3648961791" sldId="2147473252"/>
            <ac:spMk id="26" creationId="{2B475D0C-5571-C37D-6423-107489DB94CF}"/>
          </ac:spMkLst>
        </pc:spChg>
        <pc:spChg chg="mod">
          <ac:chgData name="DAVIDE CHENGRUI XIE" userId="3b3d0da2-60e6-4fc0-b387-ffa1f6840bb5" providerId="ADAL" clId="{BE6FD575-DE93-084A-A6A0-8D869D7C3D39}" dt="2023-12-15T11:54:04.223" v="1542" actId="1076"/>
          <ac:spMkLst>
            <pc:docMk/>
            <pc:sldMk cId="3648961791" sldId="2147473252"/>
            <ac:spMk id="28" creationId="{9FBDF9CA-51D2-7DCE-F3A0-434A31D709E3}"/>
          </ac:spMkLst>
        </pc:spChg>
        <pc:spChg chg="mod">
          <ac:chgData name="DAVIDE CHENGRUI XIE" userId="3b3d0da2-60e6-4fc0-b387-ffa1f6840bb5" providerId="ADAL" clId="{BE6FD575-DE93-084A-A6A0-8D869D7C3D39}" dt="2023-12-15T11:54:04.223" v="1542" actId="1076"/>
          <ac:spMkLst>
            <pc:docMk/>
            <pc:sldMk cId="3648961791" sldId="2147473252"/>
            <ac:spMk id="29" creationId="{E76D3ABD-1FE9-83F2-144A-20F24EA6532C}"/>
          </ac:spMkLst>
        </pc:spChg>
        <pc:spChg chg="mod">
          <ac:chgData name="DAVIDE CHENGRUI XIE" userId="3b3d0da2-60e6-4fc0-b387-ffa1f6840bb5" providerId="ADAL" clId="{BE6FD575-DE93-084A-A6A0-8D869D7C3D39}" dt="2023-12-15T11:54:04.223" v="1542" actId="1076"/>
          <ac:spMkLst>
            <pc:docMk/>
            <pc:sldMk cId="3648961791" sldId="2147473252"/>
            <ac:spMk id="30" creationId="{39CBA3E3-F5B8-0CD7-6CA9-1D6FB380547A}"/>
          </ac:spMkLst>
        </pc:spChg>
        <pc:spChg chg="mod">
          <ac:chgData name="DAVIDE CHENGRUI XIE" userId="3b3d0da2-60e6-4fc0-b387-ffa1f6840bb5" providerId="ADAL" clId="{BE6FD575-DE93-084A-A6A0-8D869D7C3D39}" dt="2023-12-15T11:54:04.223" v="1542" actId="1076"/>
          <ac:spMkLst>
            <pc:docMk/>
            <pc:sldMk cId="3648961791" sldId="2147473252"/>
            <ac:spMk id="31" creationId="{FFB2253E-2435-730D-5186-C3E4C7E57937}"/>
          </ac:spMkLst>
        </pc:spChg>
        <pc:spChg chg="mod">
          <ac:chgData name="DAVIDE CHENGRUI XIE" userId="3b3d0da2-60e6-4fc0-b387-ffa1f6840bb5" providerId="ADAL" clId="{BE6FD575-DE93-084A-A6A0-8D869D7C3D39}" dt="2023-12-15T11:54:04.223" v="1542" actId="1076"/>
          <ac:spMkLst>
            <pc:docMk/>
            <pc:sldMk cId="3648961791" sldId="2147473252"/>
            <ac:spMk id="32" creationId="{72C2E7E1-85C7-2067-8925-583903E362BC}"/>
          </ac:spMkLst>
        </pc:spChg>
        <pc:spChg chg="mod">
          <ac:chgData name="DAVIDE CHENGRUI XIE" userId="3b3d0da2-60e6-4fc0-b387-ffa1f6840bb5" providerId="ADAL" clId="{BE6FD575-DE93-084A-A6A0-8D869D7C3D39}" dt="2023-12-15T11:54:04.223" v="1542" actId="1076"/>
          <ac:spMkLst>
            <pc:docMk/>
            <pc:sldMk cId="3648961791" sldId="2147473252"/>
            <ac:spMk id="33" creationId="{9A958E6A-2D6C-6241-8D77-0284FF32ADC9}"/>
          </ac:spMkLst>
        </pc:spChg>
        <pc:spChg chg="mod">
          <ac:chgData name="DAVIDE CHENGRUI XIE" userId="3b3d0da2-60e6-4fc0-b387-ffa1f6840bb5" providerId="ADAL" clId="{BE6FD575-DE93-084A-A6A0-8D869D7C3D39}" dt="2023-12-15T11:54:04.223" v="1542" actId="1076"/>
          <ac:spMkLst>
            <pc:docMk/>
            <pc:sldMk cId="3648961791" sldId="2147473252"/>
            <ac:spMk id="34" creationId="{AC6F042A-B668-BDB3-5EEB-BFD1F77C8BB7}"/>
          </ac:spMkLst>
        </pc:spChg>
        <pc:spChg chg="mod">
          <ac:chgData name="DAVIDE CHENGRUI XIE" userId="3b3d0da2-60e6-4fc0-b387-ffa1f6840bb5" providerId="ADAL" clId="{BE6FD575-DE93-084A-A6A0-8D869D7C3D39}" dt="2023-12-15T11:54:04.223" v="1542" actId="1076"/>
          <ac:spMkLst>
            <pc:docMk/>
            <pc:sldMk cId="3648961791" sldId="2147473252"/>
            <ac:spMk id="35" creationId="{A28D1BF9-E986-2EC1-5B74-A301639CF632}"/>
          </ac:spMkLst>
        </pc:spChg>
        <pc:spChg chg="mod">
          <ac:chgData name="DAVIDE CHENGRUI XIE" userId="3b3d0da2-60e6-4fc0-b387-ffa1f6840bb5" providerId="ADAL" clId="{BE6FD575-DE93-084A-A6A0-8D869D7C3D39}" dt="2023-12-15T11:54:04.223" v="1542" actId="1076"/>
          <ac:spMkLst>
            <pc:docMk/>
            <pc:sldMk cId="3648961791" sldId="2147473252"/>
            <ac:spMk id="38" creationId="{1B0F0131-660D-B1DE-31BC-F1B5D2250D87}"/>
          </ac:spMkLst>
        </pc:spChg>
        <pc:spChg chg="mod">
          <ac:chgData name="DAVIDE CHENGRUI XIE" userId="3b3d0da2-60e6-4fc0-b387-ffa1f6840bb5" providerId="ADAL" clId="{BE6FD575-DE93-084A-A6A0-8D869D7C3D39}" dt="2023-12-15T11:54:04.223" v="1542" actId="1076"/>
          <ac:spMkLst>
            <pc:docMk/>
            <pc:sldMk cId="3648961791" sldId="2147473252"/>
            <ac:spMk id="40" creationId="{69040267-A4EA-39CB-8ECC-AA04AFC0F86B}"/>
          </ac:spMkLst>
        </pc:spChg>
        <pc:spChg chg="mod">
          <ac:chgData name="DAVIDE CHENGRUI XIE" userId="3b3d0da2-60e6-4fc0-b387-ffa1f6840bb5" providerId="ADAL" clId="{BE6FD575-DE93-084A-A6A0-8D869D7C3D39}" dt="2023-12-15T11:54:04.223" v="1542" actId="1076"/>
          <ac:spMkLst>
            <pc:docMk/>
            <pc:sldMk cId="3648961791" sldId="2147473252"/>
            <ac:spMk id="42" creationId="{F691CA02-CFC3-1230-4A09-590A428786D1}"/>
          </ac:spMkLst>
        </pc:spChg>
        <pc:spChg chg="mod">
          <ac:chgData name="DAVIDE CHENGRUI XIE" userId="3b3d0da2-60e6-4fc0-b387-ffa1f6840bb5" providerId="ADAL" clId="{BE6FD575-DE93-084A-A6A0-8D869D7C3D39}" dt="2023-12-15T11:54:04.223" v="1542" actId="1076"/>
          <ac:spMkLst>
            <pc:docMk/>
            <pc:sldMk cId="3648961791" sldId="2147473252"/>
            <ac:spMk id="44" creationId="{358A48EB-45C3-90AE-45C7-7EF8C881F7F6}"/>
          </ac:spMkLst>
        </pc:spChg>
        <pc:spChg chg="mod">
          <ac:chgData name="DAVIDE CHENGRUI XIE" userId="3b3d0da2-60e6-4fc0-b387-ffa1f6840bb5" providerId="ADAL" clId="{BE6FD575-DE93-084A-A6A0-8D869D7C3D39}" dt="2023-12-15T11:54:04.223" v="1542" actId="1076"/>
          <ac:spMkLst>
            <pc:docMk/>
            <pc:sldMk cId="3648961791" sldId="2147473252"/>
            <ac:spMk id="46" creationId="{37DE250B-1CFA-FA05-CF29-042E40A518D9}"/>
          </ac:spMkLst>
        </pc:spChg>
        <pc:spChg chg="mod">
          <ac:chgData name="DAVIDE CHENGRUI XIE" userId="3b3d0da2-60e6-4fc0-b387-ffa1f6840bb5" providerId="ADAL" clId="{BE6FD575-DE93-084A-A6A0-8D869D7C3D39}" dt="2023-12-15T11:54:04.223" v="1542" actId="1076"/>
          <ac:spMkLst>
            <pc:docMk/>
            <pc:sldMk cId="3648961791" sldId="2147473252"/>
            <ac:spMk id="48" creationId="{5EBFB0ED-1916-1B82-2ED9-F1DA7D818E49}"/>
          </ac:spMkLst>
        </pc:spChg>
        <pc:spChg chg="mod">
          <ac:chgData name="DAVIDE CHENGRUI XIE" userId="3b3d0da2-60e6-4fc0-b387-ffa1f6840bb5" providerId="ADAL" clId="{BE6FD575-DE93-084A-A6A0-8D869D7C3D39}" dt="2023-12-15T11:54:04.223" v="1542" actId="1076"/>
          <ac:spMkLst>
            <pc:docMk/>
            <pc:sldMk cId="3648961791" sldId="2147473252"/>
            <ac:spMk id="50" creationId="{5EA0D03C-6773-90F7-121F-737662BA50FD}"/>
          </ac:spMkLst>
        </pc:spChg>
        <pc:spChg chg="mod">
          <ac:chgData name="DAVIDE CHENGRUI XIE" userId="3b3d0da2-60e6-4fc0-b387-ffa1f6840bb5" providerId="ADAL" clId="{BE6FD575-DE93-084A-A6A0-8D869D7C3D39}" dt="2023-12-15T11:54:04.223" v="1542" actId="1076"/>
          <ac:spMkLst>
            <pc:docMk/>
            <pc:sldMk cId="3648961791" sldId="2147473252"/>
            <ac:spMk id="52" creationId="{0105A0C8-CA18-10FA-0164-DAC3E8818573}"/>
          </ac:spMkLst>
        </pc:spChg>
        <pc:spChg chg="mod">
          <ac:chgData name="DAVIDE CHENGRUI XIE" userId="3b3d0da2-60e6-4fc0-b387-ffa1f6840bb5" providerId="ADAL" clId="{BE6FD575-DE93-084A-A6A0-8D869D7C3D39}" dt="2023-12-15T11:54:04.223" v="1542" actId="1076"/>
          <ac:spMkLst>
            <pc:docMk/>
            <pc:sldMk cId="3648961791" sldId="2147473252"/>
            <ac:spMk id="54" creationId="{DA27DCF5-39C0-B4AD-A418-997E0375A888}"/>
          </ac:spMkLst>
        </pc:spChg>
        <pc:spChg chg="mod">
          <ac:chgData name="DAVIDE CHENGRUI XIE" userId="3b3d0da2-60e6-4fc0-b387-ffa1f6840bb5" providerId="ADAL" clId="{BE6FD575-DE93-084A-A6A0-8D869D7C3D39}" dt="2023-12-15T11:54:04.223" v="1542" actId="1076"/>
          <ac:spMkLst>
            <pc:docMk/>
            <pc:sldMk cId="3648961791" sldId="2147473252"/>
            <ac:spMk id="56" creationId="{909520F4-AD1B-022A-4316-0B3F5681AA6C}"/>
          </ac:spMkLst>
        </pc:spChg>
        <pc:spChg chg="mod">
          <ac:chgData name="DAVIDE CHENGRUI XIE" userId="3b3d0da2-60e6-4fc0-b387-ffa1f6840bb5" providerId="ADAL" clId="{BE6FD575-DE93-084A-A6A0-8D869D7C3D39}" dt="2023-12-15T11:54:04.223" v="1542" actId="1076"/>
          <ac:spMkLst>
            <pc:docMk/>
            <pc:sldMk cId="3648961791" sldId="2147473252"/>
            <ac:spMk id="58" creationId="{66D8C015-D947-1BCF-784D-2D09C7857420}"/>
          </ac:spMkLst>
        </pc:spChg>
        <pc:spChg chg="mod">
          <ac:chgData name="DAVIDE CHENGRUI XIE" userId="3b3d0da2-60e6-4fc0-b387-ffa1f6840bb5" providerId="ADAL" clId="{BE6FD575-DE93-084A-A6A0-8D869D7C3D39}" dt="2023-12-15T11:54:04.223" v="1542" actId="1076"/>
          <ac:spMkLst>
            <pc:docMk/>
            <pc:sldMk cId="3648961791" sldId="2147473252"/>
            <ac:spMk id="60" creationId="{BDABAE89-A9F1-D29B-0806-8AAA055ED9F4}"/>
          </ac:spMkLst>
        </pc:spChg>
        <pc:spChg chg="mod">
          <ac:chgData name="DAVIDE CHENGRUI XIE" userId="3b3d0da2-60e6-4fc0-b387-ffa1f6840bb5" providerId="ADAL" clId="{BE6FD575-DE93-084A-A6A0-8D869D7C3D39}" dt="2023-12-15T11:54:04.223" v="1542" actId="1076"/>
          <ac:spMkLst>
            <pc:docMk/>
            <pc:sldMk cId="3648961791" sldId="2147473252"/>
            <ac:spMk id="62" creationId="{473CE8D8-5A3D-11D2-83D7-599635243C06}"/>
          </ac:spMkLst>
        </pc:spChg>
        <pc:spChg chg="mod">
          <ac:chgData name="DAVIDE CHENGRUI XIE" userId="3b3d0da2-60e6-4fc0-b387-ffa1f6840bb5" providerId="ADAL" clId="{BE6FD575-DE93-084A-A6A0-8D869D7C3D39}" dt="2023-12-15T11:54:04.223" v="1542" actId="1076"/>
          <ac:spMkLst>
            <pc:docMk/>
            <pc:sldMk cId="3648961791" sldId="2147473252"/>
            <ac:spMk id="63" creationId="{BB184EAB-4775-56A5-C95D-2D89F47C2826}"/>
          </ac:spMkLst>
        </pc:spChg>
        <pc:spChg chg="mod">
          <ac:chgData name="DAVIDE CHENGRUI XIE" userId="3b3d0da2-60e6-4fc0-b387-ffa1f6840bb5" providerId="ADAL" clId="{BE6FD575-DE93-084A-A6A0-8D869D7C3D39}" dt="2023-12-15T11:54:04.223" v="1542" actId="1076"/>
          <ac:spMkLst>
            <pc:docMk/>
            <pc:sldMk cId="3648961791" sldId="2147473252"/>
            <ac:spMk id="66" creationId="{861BE733-5012-1C82-593F-7665B4EDF0E1}"/>
          </ac:spMkLst>
        </pc:spChg>
        <pc:spChg chg="mod">
          <ac:chgData name="DAVIDE CHENGRUI XIE" userId="3b3d0da2-60e6-4fc0-b387-ffa1f6840bb5" providerId="ADAL" clId="{BE6FD575-DE93-084A-A6A0-8D869D7C3D39}" dt="2023-12-15T11:54:04.223" v="1542" actId="1076"/>
          <ac:spMkLst>
            <pc:docMk/>
            <pc:sldMk cId="3648961791" sldId="2147473252"/>
            <ac:spMk id="67" creationId="{03EA49E1-C756-C8C8-DDFC-9157D977080B}"/>
          </ac:spMkLst>
        </pc:spChg>
        <pc:spChg chg="mod">
          <ac:chgData name="DAVIDE CHENGRUI XIE" userId="3b3d0da2-60e6-4fc0-b387-ffa1f6840bb5" providerId="ADAL" clId="{BE6FD575-DE93-084A-A6A0-8D869D7C3D39}" dt="2023-12-15T11:54:04.223" v="1542" actId="1076"/>
          <ac:spMkLst>
            <pc:docMk/>
            <pc:sldMk cId="3648961791" sldId="2147473252"/>
            <ac:spMk id="68" creationId="{11BFE6EE-E730-809A-3946-D131BDB7DFDE}"/>
          </ac:spMkLst>
        </pc:spChg>
        <pc:spChg chg="mod">
          <ac:chgData name="DAVIDE CHENGRUI XIE" userId="3b3d0da2-60e6-4fc0-b387-ffa1f6840bb5" providerId="ADAL" clId="{BE6FD575-DE93-084A-A6A0-8D869D7C3D39}" dt="2023-12-15T11:54:04.223" v="1542" actId="1076"/>
          <ac:spMkLst>
            <pc:docMk/>
            <pc:sldMk cId="3648961791" sldId="2147473252"/>
            <ac:spMk id="69" creationId="{8EECD2FF-5FA6-4860-5058-09CB301B7201}"/>
          </ac:spMkLst>
        </pc:spChg>
        <pc:spChg chg="mod">
          <ac:chgData name="DAVIDE CHENGRUI XIE" userId="3b3d0da2-60e6-4fc0-b387-ffa1f6840bb5" providerId="ADAL" clId="{BE6FD575-DE93-084A-A6A0-8D869D7C3D39}" dt="2023-12-15T11:54:04.223" v="1542" actId="1076"/>
          <ac:spMkLst>
            <pc:docMk/>
            <pc:sldMk cId="3648961791" sldId="2147473252"/>
            <ac:spMk id="70" creationId="{16856DD4-7E80-D8DC-A1FC-6EF0AE94EA9D}"/>
          </ac:spMkLst>
        </pc:spChg>
        <pc:spChg chg="mod">
          <ac:chgData name="DAVIDE CHENGRUI XIE" userId="3b3d0da2-60e6-4fc0-b387-ffa1f6840bb5" providerId="ADAL" clId="{BE6FD575-DE93-084A-A6A0-8D869D7C3D39}" dt="2023-12-15T11:54:04.223" v="1542" actId="1076"/>
          <ac:spMkLst>
            <pc:docMk/>
            <pc:sldMk cId="3648961791" sldId="2147473252"/>
            <ac:spMk id="71" creationId="{681567E4-C7AF-A52E-B3CF-942F46318DF3}"/>
          </ac:spMkLst>
        </pc:spChg>
        <pc:spChg chg="mod">
          <ac:chgData name="DAVIDE CHENGRUI XIE" userId="3b3d0da2-60e6-4fc0-b387-ffa1f6840bb5" providerId="ADAL" clId="{BE6FD575-DE93-084A-A6A0-8D869D7C3D39}" dt="2023-12-15T11:54:04.223" v="1542" actId="1076"/>
          <ac:spMkLst>
            <pc:docMk/>
            <pc:sldMk cId="3648961791" sldId="2147473252"/>
            <ac:spMk id="72" creationId="{BCC3CF2A-6BD9-824F-6C06-1F1D98014B76}"/>
          </ac:spMkLst>
        </pc:spChg>
        <pc:spChg chg="mod">
          <ac:chgData name="DAVIDE CHENGRUI XIE" userId="3b3d0da2-60e6-4fc0-b387-ffa1f6840bb5" providerId="ADAL" clId="{BE6FD575-DE93-084A-A6A0-8D869D7C3D39}" dt="2023-12-15T11:54:04.223" v="1542" actId="1076"/>
          <ac:spMkLst>
            <pc:docMk/>
            <pc:sldMk cId="3648961791" sldId="2147473252"/>
            <ac:spMk id="73" creationId="{9D95B53A-B9FF-F6FD-D4A8-E7663729BB00}"/>
          </ac:spMkLst>
        </pc:spChg>
        <pc:spChg chg="mod">
          <ac:chgData name="DAVIDE CHENGRUI XIE" userId="3b3d0da2-60e6-4fc0-b387-ffa1f6840bb5" providerId="ADAL" clId="{BE6FD575-DE93-084A-A6A0-8D869D7C3D39}" dt="2023-12-15T11:54:04.223" v="1542" actId="1076"/>
          <ac:spMkLst>
            <pc:docMk/>
            <pc:sldMk cId="3648961791" sldId="2147473252"/>
            <ac:spMk id="74" creationId="{864714F7-6D21-ECEE-9AEB-7F1F5F483FD8}"/>
          </ac:spMkLst>
        </pc:spChg>
        <pc:spChg chg="mod">
          <ac:chgData name="DAVIDE CHENGRUI XIE" userId="3b3d0da2-60e6-4fc0-b387-ffa1f6840bb5" providerId="ADAL" clId="{BE6FD575-DE93-084A-A6A0-8D869D7C3D39}" dt="2023-12-15T11:54:04.223" v="1542" actId="1076"/>
          <ac:spMkLst>
            <pc:docMk/>
            <pc:sldMk cId="3648961791" sldId="2147473252"/>
            <ac:spMk id="75" creationId="{1AC885E8-C212-8976-1E87-79888CA11012}"/>
          </ac:spMkLst>
        </pc:spChg>
        <pc:spChg chg="mod">
          <ac:chgData name="DAVIDE CHENGRUI XIE" userId="3b3d0da2-60e6-4fc0-b387-ffa1f6840bb5" providerId="ADAL" clId="{BE6FD575-DE93-084A-A6A0-8D869D7C3D39}" dt="2023-12-15T11:54:04.223" v="1542" actId="1076"/>
          <ac:spMkLst>
            <pc:docMk/>
            <pc:sldMk cId="3648961791" sldId="2147473252"/>
            <ac:spMk id="76" creationId="{702F7145-F76E-544F-FA3F-27978CAB5A64}"/>
          </ac:spMkLst>
        </pc:spChg>
        <pc:spChg chg="mod">
          <ac:chgData name="DAVIDE CHENGRUI XIE" userId="3b3d0da2-60e6-4fc0-b387-ffa1f6840bb5" providerId="ADAL" clId="{BE6FD575-DE93-084A-A6A0-8D869D7C3D39}" dt="2023-12-15T11:54:04.223" v="1542" actId="1076"/>
          <ac:spMkLst>
            <pc:docMk/>
            <pc:sldMk cId="3648961791" sldId="2147473252"/>
            <ac:spMk id="77" creationId="{7E9A2E8C-ADF0-2179-F31A-8864F92204CB}"/>
          </ac:spMkLst>
        </pc:spChg>
        <pc:spChg chg="mod">
          <ac:chgData name="DAVIDE CHENGRUI XIE" userId="3b3d0da2-60e6-4fc0-b387-ffa1f6840bb5" providerId="ADAL" clId="{BE6FD575-DE93-084A-A6A0-8D869D7C3D39}" dt="2023-12-15T11:54:04.223" v="1542" actId="1076"/>
          <ac:spMkLst>
            <pc:docMk/>
            <pc:sldMk cId="3648961791" sldId="2147473252"/>
            <ac:spMk id="80" creationId="{E959DBD2-FC95-01F6-FC30-6D9A6D937649}"/>
          </ac:spMkLst>
        </pc:spChg>
        <pc:spChg chg="mod">
          <ac:chgData name="DAVIDE CHENGRUI XIE" userId="3b3d0da2-60e6-4fc0-b387-ffa1f6840bb5" providerId="ADAL" clId="{BE6FD575-DE93-084A-A6A0-8D869D7C3D39}" dt="2023-12-15T11:54:04.223" v="1542" actId="1076"/>
          <ac:spMkLst>
            <pc:docMk/>
            <pc:sldMk cId="3648961791" sldId="2147473252"/>
            <ac:spMk id="81" creationId="{413006F5-B256-3C11-DA0A-ED3D79107508}"/>
          </ac:spMkLst>
        </pc:spChg>
        <pc:spChg chg="mod">
          <ac:chgData name="DAVIDE CHENGRUI XIE" userId="3b3d0da2-60e6-4fc0-b387-ffa1f6840bb5" providerId="ADAL" clId="{BE6FD575-DE93-084A-A6A0-8D869D7C3D39}" dt="2023-12-15T11:54:04.223" v="1542" actId="1076"/>
          <ac:spMkLst>
            <pc:docMk/>
            <pc:sldMk cId="3648961791" sldId="2147473252"/>
            <ac:spMk id="82" creationId="{1E353204-DB45-A9E9-0DAA-A51FFBBF254A}"/>
          </ac:spMkLst>
        </pc:spChg>
        <pc:spChg chg="mod">
          <ac:chgData name="DAVIDE CHENGRUI XIE" userId="3b3d0da2-60e6-4fc0-b387-ffa1f6840bb5" providerId="ADAL" clId="{BE6FD575-DE93-084A-A6A0-8D869D7C3D39}" dt="2023-12-15T11:54:04.223" v="1542" actId="1076"/>
          <ac:spMkLst>
            <pc:docMk/>
            <pc:sldMk cId="3648961791" sldId="2147473252"/>
            <ac:spMk id="83" creationId="{8A63B2DC-A34F-B431-A5EA-9A3CC86F6D8D}"/>
          </ac:spMkLst>
        </pc:spChg>
        <pc:spChg chg="mod">
          <ac:chgData name="DAVIDE CHENGRUI XIE" userId="3b3d0da2-60e6-4fc0-b387-ffa1f6840bb5" providerId="ADAL" clId="{BE6FD575-DE93-084A-A6A0-8D869D7C3D39}" dt="2023-12-15T11:54:04.223" v="1542" actId="1076"/>
          <ac:spMkLst>
            <pc:docMk/>
            <pc:sldMk cId="3648961791" sldId="2147473252"/>
            <ac:spMk id="84" creationId="{BA068875-D6E9-DDC9-F214-CC4B3D3DC4B4}"/>
          </ac:spMkLst>
        </pc:spChg>
        <pc:spChg chg="mod">
          <ac:chgData name="DAVIDE CHENGRUI XIE" userId="3b3d0da2-60e6-4fc0-b387-ffa1f6840bb5" providerId="ADAL" clId="{BE6FD575-DE93-084A-A6A0-8D869D7C3D39}" dt="2023-12-15T11:54:04.223" v="1542" actId="1076"/>
          <ac:spMkLst>
            <pc:docMk/>
            <pc:sldMk cId="3648961791" sldId="2147473252"/>
            <ac:spMk id="87" creationId="{00A131FF-7E0E-05CB-73A4-B44F6740C3F3}"/>
          </ac:spMkLst>
        </pc:spChg>
        <pc:spChg chg="mod">
          <ac:chgData name="DAVIDE CHENGRUI XIE" userId="3b3d0da2-60e6-4fc0-b387-ffa1f6840bb5" providerId="ADAL" clId="{BE6FD575-DE93-084A-A6A0-8D869D7C3D39}" dt="2023-12-15T11:54:04.223" v="1542" actId="1076"/>
          <ac:spMkLst>
            <pc:docMk/>
            <pc:sldMk cId="3648961791" sldId="2147473252"/>
            <ac:spMk id="89" creationId="{0C6F1DA9-E486-F326-D166-9662381DA4FC}"/>
          </ac:spMkLst>
        </pc:spChg>
        <pc:spChg chg="mod">
          <ac:chgData name="DAVIDE CHENGRUI XIE" userId="3b3d0da2-60e6-4fc0-b387-ffa1f6840bb5" providerId="ADAL" clId="{BE6FD575-DE93-084A-A6A0-8D869D7C3D39}" dt="2023-12-15T11:54:04.223" v="1542" actId="1076"/>
          <ac:spMkLst>
            <pc:docMk/>
            <pc:sldMk cId="3648961791" sldId="2147473252"/>
            <ac:spMk id="91" creationId="{96529A21-B5E2-E4E0-523A-3D12362108A9}"/>
          </ac:spMkLst>
        </pc:spChg>
        <pc:spChg chg="mod">
          <ac:chgData name="DAVIDE CHENGRUI XIE" userId="3b3d0da2-60e6-4fc0-b387-ffa1f6840bb5" providerId="ADAL" clId="{BE6FD575-DE93-084A-A6A0-8D869D7C3D39}" dt="2023-12-15T11:54:04.223" v="1542" actId="1076"/>
          <ac:spMkLst>
            <pc:docMk/>
            <pc:sldMk cId="3648961791" sldId="2147473252"/>
            <ac:spMk id="93" creationId="{FF3F6F0A-9EF8-1482-F371-314110C1109B}"/>
          </ac:spMkLst>
        </pc:spChg>
        <pc:spChg chg="mod">
          <ac:chgData name="DAVIDE CHENGRUI XIE" userId="3b3d0da2-60e6-4fc0-b387-ffa1f6840bb5" providerId="ADAL" clId="{BE6FD575-DE93-084A-A6A0-8D869D7C3D39}" dt="2023-12-15T11:54:04.223" v="1542" actId="1076"/>
          <ac:spMkLst>
            <pc:docMk/>
            <pc:sldMk cId="3648961791" sldId="2147473252"/>
            <ac:spMk id="95" creationId="{41AA2B2A-6B8C-6FE7-4CA6-C5BFD0361069}"/>
          </ac:spMkLst>
        </pc:spChg>
        <pc:spChg chg="mod">
          <ac:chgData name="DAVIDE CHENGRUI XIE" userId="3b3d0da2-60e6-4fc0-b387-ffa1f6840bb5" providerId="ADAL" clId="{BE6FD575-DE93-084A-A6A0-8D869D7C3D39}" dt="2023-12-15T11:54:04.223" v="1542" actId="1076"/>
          <ac:spMkLst>
            <pc:docMk/>
            <pc:sldMk cId="3648961791" sldId="2147473252"/>
            <ac:spMk id="105" creationId="{5F47729F-A5EE-E093-0745-EEFCABDD01C8}"/>
          </ac:spMkLst>
        </pc:spChg>
        <pc:spChg chg="mod">
          <ac:chgData name="DAVIDE CHENGRUI XIE" userId="3b3d0da2-60e6-4fc0-b387-ffa1f6840bb5" providerId="ADAL" clId="{BE6FD575-DE93-084A-A6A0-8D869D7C3D39}" dt="2023-12-15T11:54:04.223" v="1542" actId="1076"/>
          <ac:spMkLst>
            <pc:docMk/>
            <pc:sldMk cId="3648961791" sldId="2147473252"/>
            <ac:spMk id="107" creationId="{3BA134D5-4AF3-9D1A-E405-80ECBE9DE08C}"/>
          </ac:spMkLst>
        </pc:spChg>
        <pc:spChg chg="mod">
          <ac:chgData name="DAVIDE CHENGRUI XIE" userId="3b3d0da2-60e6-4fc0-b387-ffa1f6840bb5" providerId="ADAL" clId="{BE6FD575-DE93-084A-A6A0-8D869D7C3D39}" dt="2023-12-15T11:54:04.223" v="1542" actId="1076"/>
          <ac:spMkLst>
            <pc:docMk/>
            <pc:sldMk cId="3648961791" sldId="2147473252"/>
            <ac:spMk id="108" creationId="{174E05A7-017E-E367-C2FC-6609AAB1E25E}"/>
          </ac:spMkLst>
        </pc:spChg>
        <pc:spChg chg="mod">
          <ac:chgData name="DAVIDE CHENGRUI XIE" userId="3b3d0da2-60e6-4fc0-b387-ffa1f6840bb5" providerId="ADAL" clId="{BE6FD575-DE93-084A-A6A0-8D869D7C3D39}" dt="2023-12-15T11:54:04.223" v="1542" actId="1076"/>
          <ac:spMkLst>
            <pc:docMk/>
            <pc:sldMk cId="3648961791" sldId="2147473252"/>
            <ac:spMk id="109" creationId="{54270BB6-DA6C-1B71-5C77-86C1F59272D6}"/>
          </ac:spMkLst>
        </pc:spChg>
        <pc:spChg chg="mod">
          <ac:chgData name="DAVIDE CHENGRUI XIE" userId="3b3d0da2-60e6-4fc0-b387-ffa1f6840bb5" providerId="ADAL" clId="{BE6FD575-DE93-084A-A6A0-8D869D7C3D39}" dt="2023-12-15T11:54:04.223" v="1542" actId="1076"/>
          <ac:spMkLst>
            <pc:docMk/>
            <pc:sldMk cId="3648961791" sldId="2147473252"/>
            <ac:spMk id="111" creationId="{0B473DBD-8D7D-D8B4-7F51-33E582033792}"/>
          </ac:spMkLst>
        </pc:spChg>
        <pc:spChg chg="mod">
          <ac:chgData name="DAVIDE CHENGRUI XIE" userId="3b3d0da2-60e6-4fc0-b387-ffa1f6840bb5" providerId="ADAL" clId="{BE6FD575-DE93-084A-A6A0-8D869D7C3D39}" dt="2023-12-15T11:54:04.223" v="1542" actId="1076"/>
          <ac:spMkLst>
            <pc:docMk/>
            <pc:sldMk cId="3648961791" sldId="2147473252"/>
            <ac:spMk id="112" creationId="{875DF9E4-7DDC-BD78-F373-0BF1DDBCB408}"/>
          </ac:spMkLst>
        </pc:spChg>
        <pc:spChg chg="mod">
          <ac:chgData name="DAVIDE CHENGRUI XIE" userId="3b3d0da2-60e6-4fc0-b387-ffa1f6840bb5" providerId="ADAL" clId="{BE6FD575-DE93-084A-A6A0-8D869D7C3D39}" dt="2023-12-15T11:54:04.223" v="1542" actId="1076"/>
          <ac:spMkLst>
            <pc:docMk/>
            <pc:sldMk cId="3648961791" sldId="2147473252"/>
            <ac:spMk id="113" creationId="{660ED0C8-ECE2-0119-73C9-160A66859D4A}"/>
          </ac:spMkLst>
        </pc:spChg>
        <pc:spChg chg="mod">
          <ac:chgData name="DAVIDE CHENGRUI XIE" userId="3b3d0da2-60e6-4fc0-b387-ffa1f6840bb5" providerId="ADAL" clId="{BE6FD575-DE93-084A-A6A0-8D869D7C3D39}" dt="2023-12-15T11:54:04.223" v="1542" actId="1076"/>
          <ac:spMkLst>
            <pc:docMk/>
            <pc:sldMk cId="3648961791" sldId="2147473252"/>
            <ac:spMk id="114" creationId="{961BACC2-4595-419E-CC35-461A92FF4A80}"/>
          </ac:spMkLst>
        </pc:spChg>
        <pc:spChg chg="mod">
          <ac:chgData name="DAVIDE CHENGRUI XIE" userId="3b3d0da2-60e6-4fc0-b387-ffa1f6840bb5" providerId="ADAL" clId="{BE6FD575-DE93-084A-A6A0-8D869D7C3D39}" dt="2023-12-15T11:54:04.223" v="1542" actId="1076"/>
          <ac:spMkLst>
            <pc:docMk/>
            <pc:sldMk cId="3648961791" sldId="2147473252"/>
            <ac:spMk id="115" creationId="{C3C5ABEB-45DD-1270-8777-682A2988D2DA}"/>
          </ac:spMkLst>
        </pc:spChg>
        <pc:spChg chg="mod">
          <ac:chgData name="DAVIDE CHENGRUI XIE" userId="3b3d0da2-60e6-4fc0-b387-ffa1f6840bb5" providerId="ADAL" clId="{BE6FD575-DE93-084A-A6A0-8D869D7C3D39}" dt="2023-12-15T11:54:04.223" v="1542" actId="1076"/>
          <ac:spMkLst>
            <pc:docMk/>
            <pc:sldMk cId="3648961791" sldId="2147473252"/>
            <ac:spMk id="116" creationId="{D7B24ED2-5193-DF3E-C2E8-93A5BC65D411}"/>
          </ac:spMkLst>
        </pc:spChg>
        <pc:spChg chg="mod">
          <ac:chgData name="DAVIDE CHENGRUI XIE" userId="3b3d0da2-60e6-4fc0-b387-ffa1f6840bb5" providerId="ADAL" clId="{BE6FD575-DE93-084A-A6A0-8D869D7C3D39}" dt="2023-12-15T11:54:04.223" v="1542" actId="1076"/>
          <ac:spMkLst>
            <pc:docMk/>
            <pc:sldMk cId="3648961791" sldId="2147473252"/>
            <ac:spMk id="117" creationId="{2DC966C0-5DFB-A47F-31B1-4BA1C1B0C68F}"/>
          </ac:spMkLst>
        </pc:spChg>
        <pc:spChg chg="mod">
          <ac:chgData name="DAVIDE CHENGRUI XIE" userId="3b3d0da2-60e6-4fc0-b387-ffa1f6840bb5" providerId="ADAL" clId="{BE6FD575-DE93-084A-A6A0-8D869D7C3D39}" dt="2023-12-15T11:54:04.223" v="1542" actId="1076"/>
          <ac:spMkLst>
            <pc:docMk/>
            <pc:sldMk cId="3648961791" sldId="2147473252"/>
            <ac:spMk id="118" creationId="{814627D6-B7A3-3FE4-3784-94B206CFBB4E}"/>
          </ac:spMkLst>
        </pc:spChg>
        <pc:spChg chg="mod">
          <ac:chgData name="DAVIDE CHENGRUI XIE" userId="3b3d0da2-60e6-4fc0-b387-ffa1f6840bb5" providerId="ADAL" clId="{BE6FD575-DE93-084A-A6A0-8D869D7C3D39}" dt="2023-12-15T11:54:04.223" v="1542" actId="1076"/>
          <ac:spMkLst>
            <pc:docMk/>
            <pc:sldMk cId="3648961791" sldId="2147473252"/>
            <ac:spMk id="119" creationId="{D72CCE50-DCC8-8FD7-8FA3-7762FD813981}"/>
          </ac:spMkLst>
        </pc:spChg>
        <pc:spChg chg="mod">
          <ac:chgData name="DAVIDE CHENGRUI XIE" userId="3b3d0da2-60e6-4fc0-b387-ffa1f6840bb5" providerId="ADAL" clId="{BE6FD575-DE93-084A-A6A0-8D869D7C3D39}" dt="2023-12-15T11:54:04.223" v="1542" actId="1076"/>
          <ac:spMkLst>
            <pc:docMk/>
            <pc:sldMk cId="3648961791" sldId="2147473252"/>
            <ac:spMk id="120" creationId="{506AFDFE-5FF0-277D-02A7-1FE6E1E9E955}"/>
          </ac:spMkLst>
        </pc:spChg>
        <pc:spChg chg="mod">
          <ac:chgData name="DAVIDE CHENGRUI XIE" userId="3b3d0da2-60e6-4fc0-b387-ffa1f6840bb5" providerId="ADAL" clId="{BE6FD575-DE93-084A-A6A0-8D869D7C3D39}" dt="2023-12-15T11:54:04.223" v="1542" actId="1076"/>
          <ac:spMkLst>
            <pc:docMk/>
            <pc:sldMk cId="3648961791" sldId="2147473252"/>
            <ac:spMk id="121" creationId="{F2B6C0B4-9C8F-4C5D-55E7-52ED115BBF4B}"/>
          </ac:spMkLst>
        </pc:spChg>
        <pc:spChg chg="mod">
          <ac:chgData name="DAVIDE CHENGRUI XIE" userId="3b3d0da2-60e6-4fc0-b387-ffa1f6840bb5" providerId="ADAL" clId="{BE6FD575-DE93-084A-A6A0-8D869D7C3D39}" dt="2023-12-15T11:54:04.223" v="1542" actId="1076"/>
          <ac:spMkLst>
            <pc:docMk/>
            <pc:sldMk cId="3648961791" sldId="2147473252"/>
            <ac:spMk id="124" creationId="{3371BF84-66E1-1D4D-41CE-95F2E0F1CAC1}"/>
          </ac:spMkLst>
        </pc:spChg>
        <pc:spChg chg="mod">
          <ac:chgData name="DAVIDE CHENGRUI XIE" userId="3b3d0da2-60e6-4fc0-b387-ffa1f6840bb5" providerId="ADAL" clId="{BE6FD575-DE93-084A-A6A0-8D869D7C3D39}" dt="2023-12-15T11:54:04.223" v="1542" actId="1076"/>
          <ac:spMkLst>
            <pc:docMk/>
            <pc:sldMk cId="3648961791" sldId="2147473252"/>
            <ac:spMk id="125" creationId="{8B17EAD2-359F-961C-5CE1-5CA323E26493}"/>
          </ac:spMkLst>
        </pc:spChg>
        <pc:spChg chg="mod">
          <ac:chgData name="DAVIDE CHENGRUI XIE" userId="3b3d0da2-60e6-4fc0-b387-ffa1f6840bb5" providerId="ADAL" clId="{BE6FD575-DE93-084A-A6A0-8D869D7C3D39}" dt="2023-12-15T11:54:04.223" v="1542" actId="1076"/>
          <ac:spMkLst>
            <pc:docMk/>
            <pc:sldMk cId="3648961791" sldId="2147473252"/>
            <ac:spMk id="126" creationId="{3D1E2EEC-3BD0-0CDB-EECC-1C6AFFC15BD1}"/>
          </ac:spMkLst>
        </pc:spChg>
        <pc:spChg chg="mod">
          <ac:chgData name="DAVIDE CHENGRUI XIE" userId="3b3d0da2-60e6-4fc0-b387-ffa1f6840bb5" providerId="ADAL" clId="{BE6FD575-DE93-084A-A6A0-8D869D7C3D39}" dt="2023-12-15T11:54:04.223" v="1542" actId="1076"/>
          <ac:spMkLst>
            <pc:docMk/>
            <pc:sldMk cId="3648961791" sldId="2147473252"/>
            <ac:spMk id="127" creationId="{CF46B23D-9376-3DD2-62F7-6AEB278FDAB1}"/>
          </ac:spMkLst>
        </pc:spChg>
        <pc:spChg chg="mod">
          <ac:chgData name="DAVIDE CHENGRUI XIE" userId="3b3d0da2-60e6-4fc0-b387-ffa1f6840bb5" providerId="ADAL" clId="{BE6FD575-DE93-084A-A6A0-8D869D7C3D39}" dt="2023-12-15T11:54:04.223" v="1542" actId="1076"/>
          <ac:spMkLst>
            <pc:docMk/>
            <pc:sldMk cId="3648961791" sldId="2147473252"/>
            <ac:spMk id="128" creationId="{89EA00C5-471D-5640-956A-907E183FB63F}"/>
          </ac:spMkLst>
        </pc:spChg>
        <pc:spChg chg="mod">
          <ac:chgData name="DAVIDE CHENGRUI XIE" userId="3b3d0da2-60e6-4fc0-b387-ffa1f6840bb5" providerId="ADAL" clId="{BE6FD575-DE93-084A-A6A0-8D869D7C3D39}" dt="2023-12-15T11:54:04.223" v="1542" actId="1076"/>
          <ac:spMkLst>
            <pc:docMk/>
            <pc:sldMk cId="3648961791" sldId="2147473252"/>
            <ac:spMk id="129" creationId="{F06ED293-D26C-2FCA-973B-24BE8653CD4E}"/>
          </ac:spMkLst>
        </pc:spChg>
        <pc:spChg chg="mod">
          <ac:chgData name="DAVIDE CHENGRUI XIE" userId="3b3d0da2-60e6-4fc0-b387-ffa1f6840bb5" providerId="ADAL" clId="{BE6FD575-DE93-084A-A6A0-8D869D7C3D39}" dt="2023-12-15T11:54:04.223" v="1542" actId="1076"/>
          <ac:spMkLst>
            <pc:docMk/>
            <pc:sldMk cId="3648961791" sldId="2147473252"/>
            <ac:spMk id="130" creationId="{9CD832A2-04F1-9DFA-87C2-2016FE32B1F0}"/>
          </ac:spMkLst>
        </pc:spChg>
        <pc:spChg chg="mod">
          <ac:chgData name="DAVIDE CHENGRUI XIE" userId="3b3d0da2-60e6-4fc0-b387-ffa1f6840bb5" providerId="ADAL" clId="{BE6FD575-DE93-084A-A6A0-8D869D7C3D39}" dt="2023-12-15T11:54:04.223" v="1542" actId="1076"/>
          <ac:spMkLst>
            <pc:docMk/>
            <pc:sldMk cId="3648961791" sldId="2147473252"/>
            <ac:spMk id="131" creationId="{4FF8812A-F1A8-B8B7-088E-E14B9E707D02}"/>
          </ac:spMkLst>
        </pc:spChg>
        <pc:spChg chg="mod">
          <ac:chgData name="DAVIDE CHENGRUI XIE" userId="3b3d0da2-60e6-4fc0-b387-ffa1f6840bb5" providerId="ADAL" clId="{BE6FD575-DE93-084A-A6A0-8D869D7C3D39}" dt="2023-12-15T11:54:04.223" v="1542" actId="1076"/>
          <ac:spMkLst>
            <pc:docMk/>
            <pc:sldMk cId="3648961791" sldId="2147473252"/>
            <ac:spMk id="132" creationId="{BFCF2BF7-AD7E-FE34-2AC1-C96010B64B09}"/>
          </ac:spMkLst>
        </pc:spChg>
        <pc:spChg chg="mod">
          <ac:chgData name="DAVIDE CHENGRUI XIE" userId="3b3d0da2-60e6-4fc0-b387-ffa1f6840bb5" providerId="ADAL" clId="{BE6FD575-DE93-084A-A6A0-8D869D7C3D39}" dt="2023-12-15T11:54:04.223" v="1542" actId="1076"/>
          <ac:spMkLst>
            <pc:docMk/>
            <pc:sldMk cId="3648961791" sldId="2147473252"/>
            <ac:spMk id="133" creationId="{7D23888F-6465-D6B0-8127-B9A92FDE75D4}"/>
          </ac:spMkLst>
        </pc:spChg>
        <pc:spChg chg="mod">
          <ac:chgData name="DAVIDE CHENGRUI XIE" userId="3b3d0da2-60e6-4fc0-b387-ffa1f6840bb5" providerId="ADAL" clId="{BE6FD575-DE93-084A-A6A0-8D869D7C3D39}" dt="2023-12-15T11:54:04.223" v="1542" actId="1076"/>
          <ac:spMkLst>
            <pc:docMk/>
            <pc:sldMk cId="3648961791" sldId="2147473252"/>
            <ac:spMk id="134" creationId="{14BB92E5-F8C0-8DB4-8484-472BECFCF284}"/>
          </ac:spMkLst>
        </pc:spChg>
        <pc:spChg chg="mod">
          <ac:chgData name="DAVIDE CHENGRUI XIE" userId="3b3d0da2-60e6-4fc0-b387-ffa1f6840bb5" providerId="ADAL" clId="{BE6FD575-DE93-084A-A6A0-8D869D7C3D39}" dt="2023-12-15T11:54:04.223" v="1542" actId="1076"/>
          <ac:spMkLst>
            <pc:docMk/>
            <pc:sldMk cId="3648961791" sldId="2147473252"/>
            <ac:spMk id="137" creationId="{FB44AF0E-A6A6-1DD0-770D-69D436DC61E2}"/>
          </ac:spMkLst>
        </pc:spChg>
        <pc:spChg chg="mod">
          <ac:chgData name="DAVIDE CHENGRUI XIE" userId="3b3d0da2-60e6-4fc0-b387-ffa1f6840bb5" providerId="ADAL" clId="{BE6FD575-DE93-084A-A6A0-8D869D7C3D39}" dt="2023-12-15T11:54:04.223" v="1542" actId="1076"/>
          <ac:spMkLst>
            <pc:docMk/>
            <pc:sldMk cId="3648961791" sldId="2147473252"/>
            <ac:spMk id="138" creationId="{D7D5CE41-65C5-9CC1-E4B7-F2123508BC1D}"/>
          </ac:spMkLst>
        </pc:spChg>
        <pc:spChg chg="mod">
          <ac:chgData name="DAVIDE CHENGRUI XIE" userId="3b3d0da2-60e6-4fc0-b387-ffa1f6840bb5" providerId="ADAL" clId="{BE6FD575-DE93-084A-A6A0-8D869D7C3D39}" dt="2023-12-15T11:54:04.223" v="1542" actId="1076"/>
          <ac:spMkLst>
            <pc:docMk/>
            <pc:sldMk cId="3648961791" sldId="2147473252"/>
            <ac:spMk id="139" creationId="{8284257A-5D83-D198-2D9D-99267400910F}"/>
          </ac:spMkLst>
        </pc:spChg>
        <pc:spChg chg="mod">
          <ac:chgData name="DAVIDE CHENGRUI XIE" userId="3b3d0da2-60e6-4fc0-b387-ffa1f6840bb5" providerId="ADAL" clId="{BE6FD575-DE93-084A-A6A0-8D869D7C3D39}" dt="2023-12-15T11:54:04.223" v="1542" actId="1076"/>
          <ac:spMkLst>
            <pc:docMk/>
            <pc:sldMk cId="3648961791" sldId="2147473252"/>
            <ac:spMk id="140" creationId="{42D22BA7-CF4B-D766-3770-17252E50A48A}"/>
          </ac:spMkLst>
        </pc:spChg>
        <pc:spChg chg="mod">
          <ac:chgData name="DAVIDE CHENGRUI XIE" userId="3b3d0da2-60e6-4fc0-b387-ffa1f6840bb5" providerId="ADAL" clId="{BE6FD575-DE93-084A-A6A0-8D869D7C3D39}" dt="2023-12-15T11:54:04.223" v="1542" actId="1076"/>
          <ac:spMkLst>
            <pc:docMk/>
            <pc:sldMk cId="3648961791" sldId="2147473252"/>
            <ac:spMk id="141" creationId="{625D9C1A-84F8-A9EF-0D10-EC507B4B4A6D}"/>
          </ac:spMkLst>
        </pc:spChg>
        <pc:spChg chg="mod">
          <ac:chgData name="DAVIDE CHENGRUI XIE" userId="3b3d0da2-60e6-4fc0-b387-ffa1f6840bb5" providerId="ADAL" clId="{BE6FD575-DE93-084A-A6A0-8D869D7C3D39}" dt="2023-12-15T11:54:04.223" v="1542" actId="1076"/>
          <ac:spMkLst>
            <pc:docMk/>
            <pc:sldMk cId="3648961791" sldId="2147473252"/>
            <ac:spMk id="142" creationId="{E170320C-53CB-B891-350B-5AFC89A68EB9}"/>
          </ac:spMkLst>
        </pc:spChg>
        <pc:spChg chg="mod">
          <ac:chgData name="DAVIDE CHENGRUI XIE" userId="3b3d0da2-60e6-4fc0-b387-ffa1f6840bb5" providerId="ADAL" clId="{BE6FD575-DE93-084A-A6A0-8D869D7C3D39}" dt="2023-12-15T11:54:04.223" v="1542" actId="1076"/>
          <ac:spMkLst>
            <pc:docMk/>
            <pc:sldMk cId="3648961791" sldId="2147473252"/>
            <ac:spMk id="143" creationId="{AB2E3274-8B5E-2D23-BC31-63275DD9104A}"/>
          </ac:spMkLst>
        </pc:spChg>
        <pc:spChg chg="mod">
          <ac:chgData name="DAVIDE CHENGRUI XIE" userId="3b3d0da2-60e6-4fc0-b387-ffa1f6840bb5" providerId="ADAL" clId="{BE6FD575-DE93-084A-A6A0-8D869D7C3D39}" dt="2023-12-15T11:54:04.223" v="1542" actId="1076"/>
          <ac:spMkLst>
            <pc:docMk/>
            <pc:sldMk cId="3648961791" sldId="2147473252"/>
            <ac:spMk id="144" creationId="{9509AACB-F8AC-98E8-CD30-89BB12E1EC5E}"/>
          </ac:spMkLst>
        </pc:spChg>
        <pc:spChg chg="mod">
          <ac:chgData name="DAVIDE CHENGRUI XIE" userId="3b3d0da2-60e6-4fc0-b387-ffa1f6840bb5" providerId="ADAL" clId="{BE6FD575-DE93-084A-A6A0-8D869D7C3D39}" dt="2023-12-15T11:54:04.223" v="1542" actId="1076"/>
          <ac:spMkLst>
            <pc:docMk/>
            <pc:sldMk cId="3648961791" sldId="2147473252"/>
            <ac:spMk id="147" creationId="{744D0479-92F7-2749-CAD3-C01164D7DCFF}"/>
          </ac:spMkLst>
        </pc:spChg>
        <pc:spChg chg="mod">
          <ac:chgData name="DAVIDE CHENGRUI XIE" userId="3b3d0da2-60e6-4fc0-b387-ffa1f6840bb5" providerId="ADAL" clId="{BE6FD575-DE93-084A-A6A0-8D869D7C3D39}" dt="2023-12-15T11:54:04.223" v="1542" actId="1076"/>
          <ac:spMkLst>
            <pc:docMk/>
            <pc:sldMk cId="3648961791" sldId="2147473252"/>
            <ac:spMk id="149" creationId="{9F8BF5B0-41F1-271F-82B7-82569BBAFF6E}"/>
          </ac:spMkLst>
        </pc:spChg>
        <pc:spChg chg="mod">
          <ac:chgData name="DAVIDE CHENGRUI XIE" userId="3b3d0da2-60e6-4fc0-b387-ffa1f6840bb5" providerId="ADAL" clId="{BE6FD575-DE93-084A-A6A0-8D869D7C3D39}" dt="2023-12-15T11:54:04.223" v="1542" actId="1076"/>
          <ac:spMkLst>
            <pc:docMk/>
            <pc:sldMk cId="3648961791" sldId="2147473252"/>
            <ac:spMk id="151" creationId="{57819C05-EF5B-D9D0-954F-800FA800046D}"/>
          </ac:spMkLst>
        </pc:spChg>
        <pc:spChg chg="mod">
          <ac:chgData name="DAVIDE CHENGRUI XIE" userId="3b3d0da2-60e6-4fc0-b387-ffa1f6840bb5" providerId="ADAL" clId="{BE6FD575-DE93-084A-A6A0-8D869D7C3D39}" dt="2023-12-15T11:54:04.223" v="1542" actId="1076"/>
          <ac:spMkLst>
            <pc:docMk/>
            <pc:sldMk cId="3648961791" sldId="2147473252"/>
            <ac:spMk id="153" creationId="{88AE42C0-D7AB-F397-7F8A-9388CF05B301}"/>
          </ac:spMkLst>
        </pc:spChg>
        <pc:spChg chg="mod">
          <ac:chgData name="DAVIDE CHENGRUI XIE" userId="3b3d0da2-60e6-4fc0-b387-ffa1f6840bb5" providerId="ADAL" clId="{BE6FD575-DE93-084A-A6A0-8D869D7C3D39}" dt="2023-12-15T11:54:04.223" v="1542" actId="1076"/>
          <ac:spMkLst>
            <pc:docMk/>
            <pc:sldMk cId="3648961791" sldId="2147473252"/>
            <ac:spMk id="155" creationId="{077A7D0A-DCA8-7CA0-9BC7-D85DC01192DA}"/>
          </ac:spMkLst>
        </pc:spChg>
        <pc:spChg chg="mod">
          <ac:chgData name="DAVIDE CHENGRUI XIE" userId="3b3d0da2-60e6-4fc0-b387-ffa1f6840bb5" providerId="ADAL" clId="{BE6FD575-DE93-084A-A6A0-8D869D7C3D39}" dt="2023-12-15T11:54:04.223" v="1542" actId="1076"/>
          <ac:spMkLst>
            <pc:docMk/>
            <pc:sldMk cId="3648961791" sldId="2147473252"/>
            <ac:spMk id="156" creationId="{0BB61676-76D6-46BD-A0C5-320949CFE9D8}"/>
          </ac:spMkLst>
        </pc:spChg>
        <pc:spChg chg="mod">
          <ac:chgData name="DAVIDE CHENGRUI XIE" userId="3b3d0da2-60e6-4fc0-b387-ffa1f6840bb5" providerId="ADAL" clId="{BE6FD575-DE93-084A-A6A0-8D869D7C3D39}" dt="2023-12-15T11:54:04.223" v="1542" actId="1076"/>
          <ac:spMkLst>
            <pc:docMk/>
            <pc:sldMk cId="3648961791" sldId="2147473252"/>
            <ac:spMk id="157" creationId="{5554957D-279E-84C5-3F01-5BF65992C08D}"/>
          </ac:spMkLst>
        </pc:spChg>
        <pc:grpChg chg="mod">
          <ac:chgData name="DAVIDE CHENGRUI XIE" userId="3b3d0da2-60e6-4fc0-b387-ffa1f6840bb5" providerId="ADAL" clId="{BE6FD575-DE93-084A-A6A0-8D869D7C3D39}" dt="2023-12-15T11:54:04.223" v="1542" actId="1076"/>
          <ac:grpSpMkLst>
            <pc:docMk/>
            <pc:sldMk cId="3648961791" sldId="2147473252"/>
            <ac:grpSpMk id="27" creationId="{80BA850D-1329-6B88-884A-E1C3D170BFA9}"/>
          </ac:grpSpMkLst>
        </pc:grpChg>
        <pc:grpChg chg="mod">
          <ac:chgData name="DAVIDE CHENGRUI XIE" userId="3b3d0da2-60e6-4fc0-b387-ffa1f6840bb5" providerId="ADAL" clId="{BE6FD575-DE93-084A-A6A0-8D869D7C3D39}" dt="2023-12-15T11:54:04.223" v="1542" actId="1076"/>
          <ac:grpSpMkLst>
            <pc:docMk/>
            <pc:sldMk cId="3648961791" sldId="2147473252"/>
            <ac:grpSpMk id="36" creationId="{CDC7FD6F-E5EE-23A1-F1D6-F62F60ADD83D}"/>
          </ac:grpSpMkLst>
        </pc:grpChg>
        <pc:grpChg chg="mod">
          <ac:chgData name="DAVIDE CHENGRUI XIE" userId="3b3d0da2-60e6-4fc0-b387-ffa1f6840bb5" providerId="ADAL" clId="{BE6FD575-DE93-084A-A6A0-8D869D7C3D39}" dt="2023-12-15T11:54:04.223" v="1542" actId="1076"/>
          <ac:grpSpMkLst>
            <pc:docMk/>
            <pc:sldMk cId="3648961791" sldId="2147473252"/>
            <ac:grpSpMk id="64" creationId="{ABD13958-D7F6-CD77-8071-AD1555A883A7}"/>
          </ac:grpSpMkLst>
        </pc:grpChg>
        <pc:grpChg chg="mod">
          <ac:chgData name="DAVIDE CHENGRUI XIE" userId="3b3d0da2-60e6-4fc0-b387-ffa1f6840bb5" providerId="ADAL" clId="{BE6FD575-DE93-084A-A6A0-8D869D7C3D39}" dt="2023-12-15T11:54:04.223" v="1542" actId="1076"/>
          <ac:grpSpMkLst>
            <pc:docMk/>
            <pc:sldMk cId="3648961791" sldId="2147473252"/>
            <ac:grpSpMk id="78" creationId="{1DA9B188-BC3B-CCD4-FF29-DEFAE9A2A09F}"/>
          </ac:grpSpMkLst>
        </pc:grpChg>
        <pc:grpChg chg="mod">
          <ac:chgData name="DAVIDE CHENGRUI XIE" userId="3b3d0da2-60e6-4fc0-b387-ffa1f6840bb5" providerId="ADAL" clId="{BE6FD575-DE93-084A-A6A0-8D869D7C3D39}" dt="2023-12-15T11:54:04.223" v="1542" actId="1076"/>
          <ac:grpSpMkLst>
            <pc:docMk/>
            <pc:sldMk cId="3648961791" sldId="2147473252"/>
            <ac:grpSpMk id="85" creationId="{5CD9C1A5-52D8-A7CD-7B99-BF2469B0D55B}"/>
          </ac:grpSpMkLst>
        </pc:grpChg>
        <pc:grpChg chg="mod">
          <ac:chgData name="DAVIDE CHENGRUI XIE" userId="3b3d0da2-60e6-4fc0-b387-ffa1f6840bb5" providerId="ADAL" clId="{BE6FD575-DE93-084A-A6A0-8D869D7C3D39}" dt="2023-12-15T11:54:04.223" v="1542" actId="1076"/>
          <ac:grpSpMkLst>
            <pc:docMk/>
            <pc:sldMk cId="3648961791" sldId="2147473252"/>
            <ac:grpSpMk id="110" creationId="{2001DAF0-7059-43B9-8A7A-20B286426C81}"/>
          </ac:grpSpMkLst>
        </pc:grpChg>
        <pc:grpChg chg="mod">
          <ac:chgData name="DAVIDE CHENGRUI XIE" userId="3b3d0da2-60e6-4fc0-b387-ffa1f6840bb5" providerId="ADAL" clId="{BE6FD575-DE93-084A-A6A0-8D869D7C3D39}" dt="2023-12-15T11:54:04.223" v="1542" actId="1076"/>
          <ac:grpSpMkLst>
            <pc:docMk/>
            <pc:sldMk cId="3648961791" sldId="2147473252"/>
            <ac:grpSpMk id="122" creationId="{E337A54D-AF73-041F-6194-95D30498562A}"/>
          </ac:grpSpMkLst>
        </pc:grpChg>
        <pc:grpChg chg="mod">
          <ac:chgData name="DAVIDE CHENGRUI XIE" userId="3b3d0da2-60e6-4fc0-b387-ffa1f6840bb5" providerId="ADAL" clId="{BE6FD575-DE93-084A-A6A0-8D869D7C3D39}" dt="2023-12-15T11:54:04.223" v="1542" actId="1076"/>
          <ac:grpSpMkLst>
            <pc:docMk/>
            <pc:sldMk cId="3648961791" sldId="2147473252"/>
            <ac:grpSpMk id="135" creationId="{3D09B09D-E57E-37D1-B33F-BE87AA3B764B}"/>
          </ac:grpSpMkLst>
        </pc:grpChg>
        <pc:grpChg chg="mod">
          <ac:chgData name="DAVIDE CHENGRUI XIE" userId="3b3d0da2-60e6-4fc0-b387-ffa1f6840bb5" providerId="ADAL" clId="{BE6FD575-DE93-084A-A6A0-8D869D7C3D39}" dt="2023-12-15T11:54:04.223" v="1542" actId="1076"/>
          <ac:grpSpMkLst>
            <pc:docMk/>
            <pc:sldMk cId="3648961791" sldId="2147473252"/>
            <ac:grpSpMk id="145" creationId="{83863AB6-8861-C3BC-E6B6-3B0203026BF2}"/>
          </ac:grpSpMkLst>
        </pc:grpChg>
        <pc:grpChg chg="mod">
          <ac:chgData name="DAVIDE CHENGRUI XIE" userId="3b3d0da2-60e6-4fc0-b387-ffa1f6840bb5" providerId="ADAL" clId="{BE6FD575-DE93-084A-A6A0-8D869D7C3D39}" dt="2023-12-15T11:54:04.223" v="1542" actId="1076"/>
          <ac:grpSpMkLst>
            <pc:docMk/>
            <pc:sldMk cId="3648961791" sldId="2147473252"/>
            <ac:grpSpMk id="158" creationId="{A2D2064D-124D-3DA9-9CDA-B7C5B58C6118}"/>
          </ac:grpSpMkLst>
        </pc:grpChg>
        <pc:picChg chg="mod">
          <ac:chgData name="DAVIDE CHENGRUI XIE" userId="3b3d0da2-60e6-4fc0-b387-ffa1f6840bb5" providerId="ADAL" clId="{BE6FD575-DE93-084A-A6A0-8D869D7C3D39}" dt="2023-12-15T11:54:04.223" v="1542" actId="1076"/>
          <ac:picMkLst>
            <pc:docMk/>
            <pc:sldMk cId="3648961791" sldId="2147473252"/>
            <ac:picMk id="3" creationId="{6FB99991-7FF7-E0EA-7E3B-17B7B0035C38}"/>
          </ac:picMkLst>
        </pc:picChg>
        <pc:picChg chg="mod">
          <ac:chgData name="DAVIDE CHENGRUI XIE" userId="3b3d0da2-60e6-4fc0-b387-ffa1f6840bb5" providerId="ADAL" clId="{BE6FD575-DE93-084A-A6A0-8D869D7C3D39}" dt="2023-12-15T11:54:04.223" v="1542" actId="1076"/>
          <ac:picMkLst>
            <pc:docMk/>
            <pc:sldMk cId="3648961791" sldId="2147473252"/>
            <ac:picMk id="99" creationId="{F85C7854-9C47-D3CE-5418-2AC3B32FC9DB}"/>
          </ac:picMkLst>
        </pc:picChg>
        <pc:picChg chg="mod">
          <ac:chgData name="DAVIDE CHENGRUI XIE" userId="3b3d0da2-60e6-4fc0-b387-ffa1f6840bb5" providerId="ADAL" clId="{BE6FD575-DE93-084A-A6A0-8D869D7C3D39}" dt="2023-12-15T11:54:04.223" v="1542" actId="1076"/>
          <ac:picMkLst>
            <pc:docMk/>
            <pc:sldMk cId="3648961791" sldId="2147473252"/>
            <ac:picMk id="101" creationId="{715C2D89-A86D-5478-EA80-1A0032808E6E}"/>
          </ac:picMkLst>
        </pc:picChg>
        <pc:picChg chg="mod">
          <ac:chgData name="DAVIDE CHENGRUI XIE" userId="3b3d0da2-60e6-4fc0-b387-ffa1f6840bb5" providerId="ADAL" clId="{BE6FD575-DE93-084A-A6A0-8D869D7C3D39}" dt="2023-12-15T11:54:04.223" v="1542" actId="1076"/>
          <ac:picMkLst>
            <pc:docMk/>
            <pc:sldMk cId="3648961791" sldId="2147473252"/>
            <ac:picMk id="160" creationId="{E93449AF-1936-CFD9-33E0-2DBEE17130E4}"/>
          </ac:picMkLst>
        </pc:picChg>
        <pc:picChg chg="mod">
          <ac:chgData name="DAVIDE CHENGRUI XIE" userId="3b3d0da2-60e6-4fc0-b387-ffa1f6840bb5" providerId="ADAL" clId="{BE6FD575-DE93-084A-A6A0-8D869D7C3D39}" dt="2023-12-15T11:54:04.223" v="1542" actId="1076"/>
          <ac:picMkLst>
            <pc:docMk/>
            <pc:sldMk cId="3648961791" sldId="2147473252"/>
            <ac:picMk id="162" creationId="{2BD9F6C9-B8DD-1606-14A5-A5133046CA63}"/>
          </ac:picMkLst>
        </pc:picChg>
        <pc:cxnChg chg="mod">
          <ac:chgData name="DAVIDE CHENGRUI XIE" userId="3b3d0da2-60e6-4fc0-b387-ffa1f6840bb5" providerId="ADAL" clId="{BE6FD575-DE93-084A-A6A0-8D869D7C3D39}" dt="2023-12-15T11:54:04.223" v="1542" actId="1076"/>
          <ac:cxnSpMkLst>
            <pc:docMk/>
            <pc:sldMk cId="3648961791" sldId="2147473252"/>
            <ac:cxnSpMk id="16" creationId="{D1C62205-81FC-7854-7B05-6B1965433E14}"/>
          </ac:cxnSpMkLst>
        </pc:cxnChg>
      </pc:sldChg>
      <pc:sldChg chg="addSp delSp modSp new mod modTransition setBg setClrOvrMap">
        <pc:chgData name="DAVIDE CHENGRUI XIE" userId="3b3d0da2-60e6-4fc0-b387-ffa1f6840bb5" providerId="ADAL" clId="{BE6FD575-DE93-084A-A6A0-8D869D7C3D39}" dt="2023-12-15T13:37:20.526" v="1591" actId="1076"/>
        <pc:sldMkLst>
          <pc:docMk/>
          <pc:sldMk cId="1606830818" sldId="2147473253"/>
        </pc:sldMkLst>
        <pc:spChg chg="mod">
          <ac:chgData name="DAVIDE CHENGRUI XIE" userId="3b3d0da2-60e6-4fc0-b387-ffa1f6840bb5" providerId="ADAL" clId="{BE6FD575-DE93-084A-A6A0-8D869D7C3D39}" dt="2023-12-15T13:37:20.526" v="1591" actId="1076"/>
          <ac:spMkLst>
            <pc:docMk/>
            <pc:sldMk cId="1606830818" sldId="2147473253"/>
            <ac:spMk id="2" creationId="{4EF9C3E4-12A9-1C5B-F9F6-8AAF5782D18D}"/>
          </ac:spMkLst>
        </pc:spChg>
        <pc:spChg chg="add del mod">
          <ac:chgData name="DAVIDE CHENGRUI XIE" userId="3b3d0da2-60e6-4fc0-b387-ffa1f6840bb5" providerId="ADAL" clId="{BE6FD575-DE93-084A-A6A0-8D869D7C3D39}" dt="2023-12-15T11:47:45.787" v="1521" actId="26606"/>
          <ac:spMkLst>
            <pc:docMk/>
            <pc:sldMk cId="1606830818" sldId="2147473253"/>
            <ac:spMk id="3" creationId="{D61D2C54-75BB-0F20-9B8D-887796630E3A}"/>
          </ac:spMkLst>
        </pc:spChg>
        <pc:spChg chg="add del">
          <ac:chgData name="DAVIDE CHENGRUI XIE" userId="3b3d0da2-60e6-4fc0-b387-ffa1f6840bb5" providerId="ADAL" clId="{BE6FD575-DE93-084A-A6A0-8D869D7C3D39}" dt="2023-12-15T11:47:45.787" v="1521" actId="26606"/>
          <ac:spMkLst>
            <pc:docMk/>
            <pc:sldMk cId="1606830818" sldId="2147473253"/>
            <ac:spMk id="8" creationId="{907EF6B7-1338-4443-8C46-6A318D952DFD}"/>
          </ac:spMkLst>
        </pc:spChg>
        <pc:spChg chg="add del">
          <ac:chgData name="DAVIDE CHENGRUI XIE" userId="3b3d0da2-60e6-4fc0-b387-ffa1f6840bb5" providerId="ADAL" clId="{BE6FD575-DE93-084A-A6A0-8D869D7C3D39}" dt="2023-12-15T11:45:41.508" v="1487" actId="26606"/>
          <ac:spMkLst>
            <pc:docMk/>
            <pc:sldMk cId="1606830818" sldId="2147473253"/>
            <ac:spMk id="9" creationId="{71B2258F-86CA-4D4D-8270-BC05FCDEBFB3}"/>
          </ac:spMkLst>
        </pc:spChg>
        <pc:spChg chg="add del">
          <ac:chgData name="DAVIDE CHENGRUI XIE" userId="3b3d0da2-60e6-4fc0-b387-ffa1f6840bb5" providerId="ADAL" clId="{BE6FD575-DE93-084A-A6A0-8D869D7C3D39}" dt="2023-12-15T11:47:45.787" v="1521" actId="26606"/>
          <ac:spMkLst>
            <pc:docMk/>
            <pc:sldMk cId="1606830818" sldId="2147473253"/>
            <ac:spMk id="10" creationId="{DAAE4CDD-124C-4DCF-9584-B6033B545DD5}"/>
          </ac:spMkLst>
        </pc:spChg>
        <pc:spChg chg="add del">
          <ac:chgData name="DAVIDE CHENGRUI XIE" userId="3b3d0da2-60e6-4fc0-b387-ffa1f6840bb5" providerId="ADAL" clId="{BE6FD575-DE93-084A-A6A0-8D869D7C3D39}" dt="2023-12-15T11:47:45.787" v="1521" actId="26606"/>
          <ac:spMkLst>
            <pc:docMk/>
            <pc:sldMk cId="1606830818" sldId="2147473253"/>
            <ac:spMk id="12" creationId="{081E4A58-353D-44AE-B2FC-2A74E2E400F7}"/>
          </ac:spMkLst>
        </pc:spChg>
        <pc:spChg chg="add">
          <ac:chgData name="DAVIDE CHENGRUI XIE" userId="3b3d0da2-60e6-4fc0-b387-ffa1f6840bb5" providerId="ADAL" clId="{BE6FD575-DE93-084A-A6A0-8D869D7C3D39}" dt="2023-12-15T11:47:45.787" v="1521" actId="26606"/>
          <ac:spMkLst>
            <pc:docMk/>
            <pc:sldMk cId="1606830818" sldId="2147473253"/>
            <ac:spMk id="17" creationId="{C2554CA6-288E-4202-BC52-2E5A8F0C0AED}"/>
          </ac:spMkLst>
        </pc:spChg>
        <pc:spChg chg="add">
          <ac:chgData name="DAVIDE CHENGRUI XIE" userId="3b3d0da2-60e6-4fc0-b387-ffa1f6840bb5" providerId="ADAL" clId="{BE6FD575-DE93-084A-A6A0-8D869D7C3D39}" dt="2023-12-15T11:47:45.787" v="1521" actId="26606"/>
          <ac:spMkLst>
            <pc:docMk/>
            <pc:sldMk cId="1606830818" sldId="2147473253"/>
            <ac:spMk id="19" creationId="{B10BB131-AC8E-4A8E-A5D1-36260F720C3B}"/>
          </ac:spMkLst>
        </pc:spChg>
        <pc:spChg chg="add">
          <ac:chgData name="DAVIDE CHENGRUI XIE" userId="3b3d0da2-60e6-4fc0-b387-ffa1f6840bb5" providerId="ADAL" clId="{BE6FD575-DE93-084A-A6A0-8D869D7C3D39}" dt="2023-12-15T11:47:45.787" v="1521" actId="26606"/>
          <ac:spMkLst>
            <pc:docMk/>
            <pc:sldMk cId="1606830818" sldId="2147473253"/>
            <ac:spMk id="21" creationId="{5B7778FC-632E-4DCA-A7CB-0D7731CCF970}"/>
          </ac:spMkLst>
        </pc:spChg>
        <pc:spChg chg="add">
          <ac:chgData name="DAVIDE CHENGRUI XIE" userId="3b3d0da2-60e6-4fc0-b387-ffa1f6840bb5" providerId="ADAL" clId="{BE6FD575-DE93-084A-A6A0-8D869D7C3D39}" dt="2023-12-15T11:47:45.787" v="1521" actId="26606"/>
          <ac:spMkLst>
            <pc:docMk/>
            <pc:sldMk cId="1606830818" sldId="2147473253"/>
            <ac:spMk id="23" creationId="{FA23A907-97FB-4A8F-880A-DD77401C4296}"/>
          </ac:spMkLst>
        </pc:spChg>
        <pc:picChg chg="add del">
          <ac:chgData name="DAVIDE CHENGRUI XIE" userId="3b3d0da2-60e6-4fc0-b387-ffa1f6840bb5" providerId="ADAL" clId="{BE6FD575-DE93-084A-A6A0-8D869D7C3D39}" dt="2023-12-15T11:45:41.508" v="1487" actId="26606"/>
          <ac:picMkLst>
            <pc:docMk/>
            <pc:sldMk cId="1606830818" sldId="2147473253"/>
            <ac:picMk id="5" creationId="{96041B0D-FEA2-BCFF-D8E1-9A5C6DE859B6}"/>
          </ac:picMkLst>
        </pc:picChg>
        <pc:picChg chg="add mod">
          <ac:chgData name="DAVIDE CHENGRUI XIE" userId="3b3d0da2-60e6-4fc0-b387-ffa1f6840bb5" providerId="ADAL" clId="{BE6FD575-DE93-084A-A6A0-8D869D7C3D39}" dt="2023-12-15T11:48:31.258" v="1529" actId="1076"/>
          <ac:picMkLst>
            <pc:docMk/>
            <pc:sldMk cId="1606830818" sldId="2147473253"/>
            <ac:picMk id="10242" creationId="{B13E29DD-0F86-9F6F-6F40-9B350070DF38}"/>
          </ac:picMkLst>
        </pc:picChg>
      </pc:sldChg>
    </pc:docChg>
  </pc:docChgLst>
  <pc:docChgLst>
    <pc:chgData clId="Web-{AA3C6BD6-8ED7-137B-A979-E016F6DFCDFD}"/>
    <pc:docChg chg="modSld">
      <pc:chgData name="" userId="" providerId="" clId="Web-{AA3C6BD6-8ED7-137B-A979-E016F6DFCDFD}" dt="2023-12-15T09:57:49.621" v="0"/>
      <pc:docMkLst>
        <pc:docMk/>
      </pc:docMkLst>
      <pc:sldChg chg="delSp">
        <pc:chgData name="" userId="" providerId="" clId="Web-{AA3C6BD6-8ED7-137B-A979-E016F6DFCDFD}" dt="2023-12-15T09:57:49.621" v="0"/>
        <pc:sldMkLst>
          <pc:docMk/>
          <pc:sldMk cId="2753883895" sldId="259"/>
        </pc:sldMkLst>
        <pc:picChg chg="del">
          <ac:chgData name="" userId="" providerId="" clId="Web-{AA3C6BD6-8ED7-137B-A979-E016F6DFCDFD}" dt="2023-12-15T09:57:49.621" v="0"/>
          <ac:picMkLst>
            <pc:docMk/>
            <pc:sldMk cId="2753883895" sldId="259"/>
            <ac:picMk id="33" creationId="{4CC9F346-BBE9-639E-C57B-F59FDC6BAEB6}"/>
          </ac:picMkLst>
        </pc:picChg>
      </pc:sldChg>
    </pc:docChg>
  </pc:docChgLst>
  <pc:docChgLst>
    <pc:chgData name="TOMAS CARZOLIO LEGEREN" userId="S::tomas.carzolio@studbocconi.it::19b125e8-0985-4177-8616-f4655384ac67" providerId="AD" clId="Web-{4B5334B4-5BD1-459D-A028-DB8565842E57}"/>
    <pc:docChg chg="addSld">
      <pc:chgData name="TOMAS CARZOLIO LEGEREN" userId="S::tomas.carzolio@studbocconi.it::19b125e8-0985-4177-8616-f4655384ac67" providerId="AD" clId="Web-{4B5334B4-5BD1-459D-A028-DB8565842E57}" dt="2023-12-15T11:21:49.454" v="0"/>
      <pc:docMkLst>
        <pc:docMk/>
      </pc:docMkLst>
      <pc:sldChg chg="add">
        <pc:chgData name="TOMAS CARZOLIO LEGEREN" userId="S::tomas.carzolio@studbocconi.it::19b125e8-0985-4177-8616-f4655384ac67" providerId="AD" clId="Web-{4B5334B4-5BD1-459D-A028-DB8565842E57}" dt="2023-12-15T11:21:49.454" v="0"/>
        <pc:sldMkLst>
          <pc:docMk/>
          <pc:sldMk cId="3648961791" sldId="2147473252"/>
        </pc:sldMkLst>
      </pc:sldChg>
      <pc:sldMasterChg chg="addSldLayout">
        <pc:chgData name="TOMAS CARZOLIO LEGEREN" userId="S::tomas.carzolio@studbocconi.it::19b125e8-0985-4177-8616-f4655384ac67" providerId="AD" clId="Web-{4B5334B4-5BD1-459D-A028-DB8565842E57}" dt="2023-12-15T11:21:49.454" v="0"/>
        <pc:sldMasterMkLst>
          <pc:docMk/>
          <pc:sldMasterMk cId="2187354209" sldId="2147483648"/>
        </pc:sldMasterMkLst>
        <pc:sldLayoutChg chg="add">
          <pc:chgData name="TOMAS CARZOLIO LEGEREN" userId="S::tomas.carzolio@studbocconi.it::19b125e8-0985-4177-8616-f4655384ac67" providerId="AD" clId="Web-{4B5334B4-5BD1-459D-A028-DB8565842E57}" dt="2023-12-15T11:21:49.454" v="0"/>
          <pc:sldLayoutMkLst>
            <pc:docMk/>
            <pc:sldMasterMk cId="2187354209" sldId="2147483648"/>
            <pc:sldLayoutMk cId="2405248877" sldId="2147483660"/>
          </pc:sldLayoutMkLst>
        </pc:sldLayoutChg>
      </pc:sldMasterChg>
    </pc:docChg>
  </pc:docChgLst>
  <pc:docChgLst>
    <pc:chgData name="TOMAS CARZOLIO LEGEREN" userId="S::tomas.carzolio@studbocconi.it::19b125e8-0985-4177-8616-f4655384ac67" providerId="AD" clId="Web-{3ECA1416-873A-A6D6-5F6C-992829410866}"/>
    <pc:docChg chg="modSld">
      <pc:chgData name="TOMAS CARZOLIO LEGEREN" userId="S::tomas.carzolio@studbocconi.it::19b125e8-0985-4177-8616-f4655384ac67" providerId="AD" clId="Web-{3ECA1416-873A-A6D6-5F6C-992829410866}" dt="2023-12-15T11:35:24.743" v="62"/>
      <pc:docMkLst>
        <pc:docMk/>
      </pc:docMkLst>
      <pc:sldChg chg="modSp">
        <pc:chgData name="TOMAS CARZOLIO LEGEREN" userId="S::tomas.carzolio@studbocconi.it::19b125e8-0985-4177-8616-f4655384ac67" providerId="AD" clId="Web-{3ECA1416-873A-A6D6-5F6C-992829410866}" dt="2023-12-15T11:22:33.337" v="1" actId="20577"/>
        <pc:sldMkLst>
          <pc:docMk/>
          <pc:sldMk cId="129447240" sldId="260"/>
        </pc:sldMkLst>
        <pc:spChg chg="mod">
          <ac:chgData name="TOMAS CARZOLIO LEGEREN" userId="S::tomas.carzolio@studbocconi.it::19b125e8-0985-4177-8616-f4655384ac67" providerId="AD" clId="Web-{3ECA1416-873A-A6D6-5F6C-992829410866}" dt="2023-12-15T11:22:33.337" v="1" actId="20577"/>
          <ac:spMkLst>
            <pc:docMk/>
            <pc:sldMk cId="129447240" sldId="260"/>
            <ac:spMk id="39" creationId="{DB7659EA-C5E7-5965-49C1-B8538B17C4CC}"/>
          </ac:spMkLst>
        </pc:spChg>
      </pc:sldChg>
      <pc:sldChg chg="addSp delSp modSp modTransition">
        <pc:chgData name="TOMAS CARZOLIO LEGEREN" userId="S::tomas.carzolio@studbocconi.it::19b125e8-0985-4177-8616-f4655384ac67" providerId="AD" clId="Web-{3ECA1416-873A-A6D6-5F6C-992829410866}" dt="2023-12-15T11:35:24.743" v="62"/>
        <pc:sldMkLst>
          <pc:docMk/>
          <pc:sldMk cId="3648961791" sldId="2147473252"/>
        </pc:sldMkLst>
        <pc:spChg chg="mod">
          <ac:chgData name="TOMAS CARZOLIO LEGEREN" userId="S::tomas.carzolio@studbocconi.it::19b125e8-0985-4177-8616-f4655384ac67" providerId="AD" clId="Web-{3ECA1416-873A-A6D6-5F6C-992829410866}" dt="2023-12-15T11:24:37.592" v="27" actId="1076"/>
          <ac:spMkLst>
            <pc:docMk/>
            <pc:sldMk cId="3648961791" sldId="2147473252"/>
            <ac:spMk id="10" creationId="{BA896EF5-3DA1-FDA3-349B-8E3086E63D9F}"/>
          </ac:spMkLst>
        </pc:spChg>
        <pc:spChg chg="mod">
          <ac:chgData name="TOMAS CARZOLIO LEGEREN" userId="S::tomas.carzolio@studbocconi.it::19b125e8-0985-4177-8616-f4655384ac67" providerId="AD" clId="Web-{3ECA1416-873A-A6D6-5F6C-992829410866}" dt="2023-12-15T11:24:22.466" v="22" actId="1076"/>
          <ac:spMkLst>
            <pc:docMk/>
            <pc:sldMk cId="3648961791" sldId="2147473252"/>
            <ac:spMk id="56" creationId="{909520F4-AD1B-022A-4316-0B3F5681AA6C}"/>
          </ac:spMkLst>
        </pc:spChg>
        <pc:spChg chg="mod">
          <ac:chgData name="TOMAS CARZOLIO LEGEREN" userId="S::tomas.carzolio@studbocconi.it::19b125e8-0985-4177-8616-f4655384ac67" providerId="AD" clId="Web-{3ECA1416-873A-A6D6-5F6C-992829410866}" dt="2023-12-15T11:24:28.529" v="23" actId="1076"/>
          <ac:spMkLst>
            <pc:docMk/>
            <pc:sldMk cId="3648961791" sldId="2147473252"/>
            <ac:spMk id="58" creationId="{66D8C015-D947-1BCF-784D-2D09C7857420}"/>
          </ac:spMkLst>
        </pc:spChg>
        <pc:spChg chg="mod">
          <ac:chgData name="TOMAS CARZOLIO LEGEREN" userId="S::tomas.carzolio@studbocconi.it::19b125e8-0985-4177-8616-f4655384ac67" providerId="AD" clId="Web-{3ECA1416-873A-A6D6-5F6C-992829410866}" dt="2023-12-15T11:24:44.139" v="28" actId="1076"/>
          <ac:spMkLst>
            <pc:docMk/>
            <pc:sldMk cId="3648961791" sldId="2147473252"/>
            <ac:spMk id="60" creationId="{BDABAE89-A9F1-D29B-0806-8AAA055ED9F4}"/>
          </ac:spMkLst>
        </pc:spChg>
        <pc:spChg chg="mod">
          <ac:chgData name="TOMAS CARZOLIO LEGEREN" userId="S::tomas.carzolio@studbocconi.it::19b125e8-0985-4177-8616-f4655384ac67" providerId="AD" clId="Web-{3ECA1416-873A-A6D6-5F6C-992829410866}" dt="2023-12-15T11:24:18.982" v="21" actId="1076"/>
          <ac:spMkLst>
            <pc:docMk/>
            <pc:sldMk cId="3648961791" sldId="2147473252"/>
            <ac:spMk id="147" creationId="{744D0479-92F7-2749-CAD3-C01164D7DCFF}"/>
          </ac:spMkLst>
        </pc:spChg>
        <pc:grpChg chg="add del">
          <ac:chgData name="TOMAS CARZOLIO LEGEREN" userId="S::tomas.carzolio@studbocconi.it::19b125e8-0985-4177-8616-f4655384ac67" providerId="AD" clId="Web-{3ECA1416-873A-A6D6-5F6C-992829410866}" dt="2023-12-15T11:35:04.461" v="51"/>
          <ac:grpSpMkLst>
            <pc:docMk/>
            <pc:sldMk cId="3648961791" sldId="2147473252"/>
            <ac:grpSpMk id="64" creationId="{ABD13958-D7F6-CD77-8071-AD1555A883A7}"/>
          </ac:grpSpMkLst>
        </pc:grpChg>
        <pc:grpChg chg="add del">
          <ac:chgData name="TOMAS CARZOLIO LEGEREN" userId="S::tomas.carzolio@studbocconi.it::19b125e8-0985-4177-8616-f4655384ac67" providerId="AD" clId="Web-{3ECA1416-873A-A6D6-5F6C-992829410866}" dt="2023-12-15T11:35:20.885" v="60"/>
          <ac:grpSpMkLst>
            <pc:docMk/>
            <pc:sldMk cId="3648961791" sldId="2147473252"/>
            <ac:grpSpMk id="135" creationId="{3D09B09D-E57E-37D1-B33F-BE87AA3B764B}"/>
          </ac:grpSpMkLst>
        </pc:grpChg>
        <pc:grpChg chg="mod">
          <ac:chgData name="TOMAS CARZOLIO LEGEREN" userId="S::tomas.carzolio@studbocconi.it::19b125e8-0985-4177-8616-f4655384ac67" providerId="AD" clId="Web-{3ECA1416-873A-A6D6-5F6C-992829410866}" dt="2023-12-15T11:35:09.789" v="54" actId="1076"/>
          <ac:grpSpMkLst>
            <pc:docMk/>
            <pc:sldMk cId="3648961791" sldId="2147473252"/>
            <ac:grpSpMk id="145" creationId="{83863AB6-8861-C3BC-E6B6-3B0203026BF2}"/>
          </ac:grpSpMkLst>
        </pc:grpChg>
        <pc:picChg chg="add del mod">
          <ac:chgData name="TOMAS CARZOLIO LEGEREN" userId="S::tomas.carzolio@studbocconi.it::19b125e8-0985-4177-8616-f4655384ac67" providerId="AD" clId="Web-{3ECA1416-873A-A6D6-5F6C-992829410866}" dt="2023-12-15T11:35:22.415" v="61"/>
          <ac:picMkLst>
            <pc:docMk/>
            <pc:sldMk cId="3648961791" sldId="2147473252"/>
            <ac:picMk id="4" creationId="{10B528E3-8FA9-04F5-9C1B-FFA033CC7326}"/>
          </ac:picMkLst>
        </pc:picChg>
        <pc:picChg chg="add del mod">
          <ac:chgData name="TOMAS CARZOLIO LEGEREN" userId="S::tomas.carzolio@studbocconi.it::19b125e8-0985-4177-8616-f4655384ac67" providerId="AD" clId="Web-{3ECA1416-873A-A6D6-5F6C-992829410866}" dt="2023-12-15T11:35:03.117" v="50"/>
          <ac:picMkLst>
            <pc:docMk/>
            <pc:sldMk cId="3648961791" sldId="2147473252"/>
            <ac:picMk id="7" creationId="{7B6A9067-FF20-D0E3-A9EB-3D409D38A33C}"/>
          </ac:picMkLst>
        </pc:picChg>
        <pc:picChg chg="mod">
          <ac:chgData name="TOMAS CARZOLIO LEGEREN" userId="S::tomas.carzolio@studbocconi.it::19b125e8-0985-4177-8616-f4655384ac67" providerId="AD" clId="Web-{3ECA1416-873A-A6D6-5F6C-992829410866}" dt="2023-12-15T11:34:58.242" v="47" actId="14100"/>
          <ac:picMkLst>
            <pc:docMk/>
            <pc:sldMk cId="3648961791" sldId="2147473252"/>
            <ac:picMk id="162" creationId="{2BD9F6C9-B8DD-1606-14A5-A5133046CA63}"/>
          </ac:picMkLst>
        </pc:picChg>
      </pc:sldChg>
    </pc:docChg>
  </pc:docChgLst>
  <pc:docChgLst>
    <pc:chgData name="ILDEM DEMIR" userId="S::ildem.demir@studbocconi.it::d8d5c516-380f-4fd6-a2e4-95a39faa25ed" providerId="AD" clId="Web-{CDBCC853-B12E-3295-1638-124F874B8D08}"/>
    <pc:docChg chg="modSld">
      <pc:chgData name="ILDEM DEMIR" userId="S::ildem.demir@studbocconi.it::d8d5c516-380f-4fd6-a2e4-95a39faa25ed" providerId="AD" clId="Web-{CDBCC853-B12E-3295-1638-124F874B8D08}" dt="2023-12-15T13:47:02.660" v="15" actId="20577"/>
      <pc:docMkLst>
        <pc:docMk/>
      </pc:docMkLst>
      <pc:sldChg chg="modSp">
        <pc:chgData name="ILDEM DEMIR" userId="S::ildem.demir@studbocconi.it::d8d5c516-380f-4fd6-a2e4-95a39faa25ed" providerId="AD" clId="Web-{CDBCC853-B12E-3295-1638-124F874B8D08}" dt="2023-12-15T13:28:44.977" v="11" actId="14100"/>
        <pc:sldMkLst>
          <pc:docMk/>
          <pc:sldMk cId="2753883895" sldId="259"/>
        </pc:sldMkLst>
        <pc:spChg chg="mod">
          <ac:chgData name="ILDEM DEMIR" userId="S::ildem.demir@studbocconi.it::d8d5c516-380f-4fd6-a2e4-95a39faa25ed" providerId="AD" clId="Web-{CDBCC853-B12E-3295-1638-124F874B8D08}" dt="2023-12-15T13:28:44.977" v="11" actId="14100"/>
          <ac:spMkLst>
            <pc:docMk/>
            <pc:sldMk cId="2753883895" sldId="259"/>
            <ac:spMk id="21" creationId="{447258FF-E30D-F05C-126F-6B386D1257D4}"/>
          </ac:spMkLst>
        </pc:spChg>
        <pc:spChg chg="mod">
          <ac:chgData name="ILDEM DEMIR" userId="S::ildem.demir@studbocconi.it::d8d5c516-380f-4fd6-a2e4-95a39faa25ed" providerId="AD" clId="Web-{CDBCC853-B12E-3295-1638-124F874B8D08}" dt="2023-12-15T13:11:22.625" v="10" actId="20577"/>
          <ac:spMkLst>
            <pc:docMk/>
            <pc:sldMk cId="2753883895" sldId="259"/>
            <ac:spMk id="32" creationId="{309491EB-B570-BF3A-4835-F62FBB88D541}"/>
          </ac:spMkLst>
        </pc:spChg>
        <pc:spChg chg="ord">
          <ac:chgData name="ILDEM DEMIR" userId="S::ildem.demir@studbocconi.it::d8d5c516-380f-4fd6-a2e4-95a39faa25ed" providerId="AD" clId="Web-{CDBCC853-B12E-3295-1638-124F874B8D08}" dt="2023-12-15T11:55:45.616" v="0"/>
          <ac:spMkLst>
            <pc:docMk/>
            <pc:sldMk cId="2753883895" sldId="259"/>
            <ac:spMk id="36" creationId="{C8E1650D-F7A3-B8C1-9EC1-80C7C8B9153C}"/>
          </ac:spMkLst>
        </pc:spChg>
      </pc:sldChg>
      <pc:sldChg chg="modSp">
        <pc:chgData name="ILDEM DEMIR" userId="S::ildem.demir@studbocconi.it::d8d5c516-380f-4fd6-a2e4-95a39faa25ed" providerId="AD" clId="Web-{CDBCC853-B12E-3295-1638-124F874B8D08}" dt="2023-12-15T13:47:02.660" v="15" actId="20577"/>
        <pc:sldMkLst>
          <pc:docMk/>
          <pc:sldMk cId="2389766656" sldId="262"/>
        </pc:sldMkLst>
        <pc:spChg chg="mod">
          <ac:chgData name="ILDEM DEMIR" userId="S::ildem.demir@studbocconi.it::d8d5c516-380f-4fd6-a2e4-95a39faa25ed" providerId="AD" clId="Web-{CDBCC853-B12E-3295-1638-124F874B8D08}" dt="2023-12-15T13:47:02.660" v="15" actId="20577"/>
          <ac:spMkLst>
            <pc:docMk/>
            <pc:sldMk cId="2389766656" sldId="262"/>
            <ac:spMk id="43" creationId="{2E0CB68F-8245-9C6D-EE13-9284D13FF5AE}"/>
          </ac:spMkLst>
        </pc:spChg>
      </pc:sldChg>
    </pc:docChg>
  </pc:docChgLst>
</pc:chgInfo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CBC3AE47-277D-058B-3621-9DF1DEA04B0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ottotitolo 2">
            <a:extLst>
              <a:ext uri="{FF2B5EF4-FFF2-40B4-BE49-F238E27FC236}">
                <a16:creationId xmlns:a16="http://schemas.microsoft.com/office/drawing/2014/main" id="{2FC8F5E3-0C34-10CE-A631-91FAEFDB0FE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it-IT"/>
              <a:t>Fare clic per modificare lo stile del sottotitolo dello schema</a:t>
            </a:r>
          </a:p>
        </p:txBody>
      </p:sp>
      <p:sp>
        <p:nvSpPr>
          <p:cNvPr id="4" name="Segnaposto data 3">
            <a:extLst>
              <a:ext uri="{FF2B5EF4-FFF2-40B4-BE49-F238E27FC236}">
                <a16:creationId xmlns:a16="http://schemas.microsoft.com/office/drawing/2014/main" id="{D4DF5CF3-AA5A-6EA5-386B-5E38DC99A30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A7409B7-AFD0-844D-9A3A-DEBDC34EC35E}" type="datetimeFigureOut">
              <a:rPr lang="it-IT" smtClean="0"/>
              <a:t>15/12/2023</a:t>
            </a:fld>
            <a:endParaRPr lang="it-IT"/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6DBA9296-3610-3CE3-84EB-7A00E02AFBE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3648F3A2-121A-58A2-EF26-2E63C77C39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23FAE0-9C0B-9042-ACB2-889F11F7C8FF}" type="slidenum">
              <a:rPr lang="it-IT" smtClean="0"/>
              <a:t>‹#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64342013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olo e testo vertica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8DCF9B78-D6A8-3FAB-870E-9A4643C3A00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testo verticale 2">
            <a:extLst>
              <a:ext uri="{FF2B5EF4-FFF2-40B4-BE49-F238E27FC236}">
                <a16:creationId xmlns:a16="http://schemas.microsoft.com/office/drawing/2014/main" id="{DCF7F5E9-B53E-1D32-5A60-1C2933B2FA39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data 3">
            <a:extLst>
              <a:ext uri="{FF2B5EF4-FFF2-40B4-BE49-F238E27FC236}">
                <a16:creationId xmlns:a16="http://schemas.microsoft.com/office/drawing/2014/main" id="{9583BC50-6FCD-B138-7011-98B7D740CB2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A7409B7-AFD0-844D-9A3A-DEBDC34EC35E}" type="datetimeFigureOut">
              <a:rPr lang="it-IT" smtClean="0"/>
              <a:t>15/12/2023</a:t>
            </a:fld>
            <a:endParaRPr lang="it-IT"/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EA965F72-DE08-42A4-9A4F-1D679EAEF6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39657341-4DD7-FB19-ED43-9E205F0EC41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23FAE0-9C0B-9042-ACB2-889F11F7C8FF}" type="slidenum">
              <a:rPr lang="it-IT" smtClean="0"/>
              <a:t>‹#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66407397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1_Titolo e testo vertica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verticale 1">
            <a:extLst>
              <a:ext uri="{FF2B5EF4-FFF2-40B4-BE49-F238E27FC236}">
                <a16:creationId xmlns:a16="http://schemas.microsoft.com/office/drawing/2014/main" id="{A3B87ECB-58E1-00D6-ECBB-BABD9945927A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testo verticale 2">
            <a:extLst>
              <a:ext uri="{FF2B5EF4-FFF2-40B4-BE49-F238E27FC236}">
                <a16:creationId xmlns:a16="http://schemas.microsoft.com/office/drawing/2014/main" id="{D789B3D0-D3F8-C2D7-413C-6D3D83252917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data 3">
            <a:extLst>
              <a:ext uri="{FF2B5EF4-FFF2-40B4-BE49-F238E27FC236}">
                <a16:creationId xmlns:a16="http://schemas.microsoft.com/office/drawing/2014/main" id="{188952C7-A8F9-75C3-941F-6EB91CFA019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A7409B7-AFD0-844D-9A3A-DEBDC34EC35E}" type="datetimeFigureOut">
              <a:rPr lang="it-IT" smtClean="0"/>
              <a:t>15/12/2023</a:t>
            </a:fld>
            <a:endParaRPr lang="it-IT"/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EB71C8E5-B007-C07E-C516-25295AF56ED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1F5F60E7-8F1A-2EF0-0E0E-AAB561178EC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23FAE0-9C0B-9042-ACB2-889F11F7C8FF}" type="slidenum">
              <a:rPr lang="it-IT" smtClean="0"/>
              <a:t>‹#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5607210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K_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8919E17-A30C-1C10-86B5-32F0E9F3C7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794" y="794"/>
          <a:ext cx="794" cy="7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317" imgH="318" progId="TCLayout.ActiveDocument.1">
                  <p:embed/>
                </p:oleObj>
              </mc:Choice>
              <mc:Fallback>
                <p:oleObj name="Diapositiva de think-cell" r:id="rId3" imgW="317" imgH="31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8919E17-A30C-1C10-86B5-32F0E9F3C7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794" y="794"/>
                        <a:ext cx="794" cy="79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4D1BC210-4595-4FCE-91B3-FF9F214DD64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5762" y="802298"/>
            <a:ext cx="11418888" cy="576263"/>
          </a:xfrm>
          <a:prstGeom prst="rect">
            <a:avLst/>
          </a:prstGeom>
        </p:spPr>
        <p:txBody>
          <a:bodyPr/>
          <a:lstStyle>
            <a:lvl1pPr>
              <a:defRPr sz="1800" b="0">
                <a:solidFill>
                  <a:schemeClr val="bg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6" name="Title 2">
            <a:extLst>
              <a:ext uri="{FF2B5EF4-FFF2-40B4-BE49-F238E27FC236}">
                <a16:creationId xmlns:a16="http://schemas.microsoft.com/office/drawing/2014/main" id="{A6323E3F-9150-4F6F-8C88-F81C3F5A713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4174" y="381000"/>
            <a:ext cx="11420475" cy="485775"/>
          </a:xfrm>
          <a:prstGeom prst="rect">
            <a:avLst/>
          </a:prstGeom>
        </p:spPr>
        <p:txBody>
          <a:bodyPr vert="horz"/>
          <a:lstStyle>
            <a:lvl1pPr>
              <a:defRPr sz="24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1pPr>
          </a:lstStyle>
          <a:p>
            <a:r>
              <a:rPr lang="en-US"/>
              <a:t>Template - [type of slide]</a:t>
            </a:r>
          </a:p>
        </p:txBody>
      </p:sp>
      <p:sp>
        <p:nvSpPr>
          <p:cNvPr id="2" name="Footer Placeholder 5">
            <a:extLst>
              <a:ext uri="{FF2B5EF4-FFF2-40B4-BE49-F238E27FC236}">
                <a16:creationId xmlns:a16="http://schemas.microsoft.com/office/drawing/2014/main" id="{0AE24EED-ECF9-F8B6-E75D-D641EDC0DA1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318941" y="6460383"/>
            <a:ext cx="5847522" cy="2406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/>
              <a:t>Source:_______</a:t>
            </a:r>
          </a:p>
        </p:txBody>
      </p:sp>
    </p:spTree>
    <p:extLst>
      <p:ext uri="{BB962C8B-B14F-4D97-AF65-F5344CB8AC3E}">
        <p14:creationId xmlns:p14="http://schemas.microsoft.com/office/powerpoint/2010/main" val="24052488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3885">
          <p15:clr>
            <a:srgbClr val="FBAE40"/>
          </p15:clr>
        </p15:guide>
        <p15:guide id="3" pos="3795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ol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5F89C97D-AE4F-191A-4A1B-6E8A83C1CA8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contenuto 2">
            <a:extLst>
              <a:ext uri="{FF2B5EF4-FFF2-40B4-BE49-F238E27FC236}">
                <a16:creationId xmlns:a16="http://schemas.microsoft.com/office/drawing/2014/main" id="{6C99E943-FA12-E747-A7C6-455070824CC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data 3">
            <a:extLst>
              <a:ext uri="{FF2B5EF4-FFF2-40B4-BE49-F238E27FC236}">
                <a16:creationId xmlns:a16="http://schemas.microsoft.com/office/drawing/2014/main" id="{8CCB81F7-13ED-57B1-FC04-52DBC610EFD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A7409B7-AFD0-844D-9A3A-DEBDC34EC35E}" type="datetimeFigureOut">
              <a:rPr lang="it-IT" smtClean="0"/>
              <a:t>15/12/2023</a:t>
            </a:fld>
            <a:endParaRPr lang="it-IT"/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7C159767-1FD8-209D-E323-787B2C2E23B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E7D14F4A-2FEA-CB68-B455-6A255BB4283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23FAE0-9C0B-9042-ACB2-889F11F7C8FF}" type="slidenum">
              <a:rPr lang="it-IT" smtClean="0"/>
              <a:t>‹#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64210788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Intestazione sezi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DE4B03BE-2147-A31E-44B9-653CCAC5A57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testo 2">
            <a:extLst>
              <a:ext uri="{FF2B5EF4-FFF2-40B4-BE49-F238E27FC236}">
                <a16:creationId xmlns:a16="http://schemas.microsoft.com/office/drawing/2014/main" id="{AF359578-64E9-F47F-5FFB-3C2B7BB9A7F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4" name="Segnaposto data 3">
            <a:extLst>
              <a:ext uri="{FF2B5EF4-FFF2-40B4-BE49-F238E27FC236}">
                <a16:creationId xmlns:a16="http://schemas.microsoft.com/office/drawing/2014/main" id="{3E612B1F-6486-585A-12CD-48D1D091C49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A7409B7-AFD0-844D-9A3A-DEBDC34EC35E}" type="datetimeFigureOut">
              <a:rPr lang="it-IT" smtClean="0"/>
              <a:t>15/12/2023</a:t>
            </a:fld>
            <a:endParaRPr lang="it-IT"/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B9556D92-060C-33A6-1334-BB841E60709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14BC7D1B-A422-443C-D9E4-F3582FCAD2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23FAE0-9C0B-9042-ACB2-889F11F7C8FF}" type="slidenum">
              <a:rPr lang="it-IT" smtClean="0"/>
              <a:t>‹#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15497861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e contenu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93B1863C-F945-01D7-3F2F-C516922D3E7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contenuto 2">
            <a:extLst>
              <a:ext uri="{FF2B5EF4-FFF2-40B4-BE49-F238E27FC236}">
                <a16:creationId xmlns:a16="http://schemas.microsoft.com/office/drawing/2014/main" id="{A47F80D2-10B2-23ED-C57D-BBEFAB1CAC5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contenuto 3">
            <a:extLst>
              <a:ext uri="{FF2B5EF4-FFF2-40B4-BE49-F238E27FC236}">
                <a16:creationId xmlns:a16="http://schemas.microsoft.com/office/drawing/2014/main" id="{60CA6A8B-AB22-797B-DC1C-22A9F2B7474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5" name="Segnaposto data 4">
            <a:extLst>
              <a:ext uri="{FF2B5EF4-FFF2-40B4-BE49-F238E27FC236}">
                <a16:creationId xmlns:a16="http://schemas.microsoft.com/office/drawing/2014/main" id="{F46EADB7-A842-41B4-2128-2DCE82F198F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A7409B7-AFD0-844D-9A3A-DEBDC34EC35E}" type="datetimeFigureOut">
              <a:rPr lang="it-IT" smtClean="0"/>
              <a:t>15/12/2023</a:t>
            </a:fld>
            <a:endParaRPr lang="it-IT"/>
          </a:p>
        </p:txBody>
      </p:sp>
      <p:sp>
        <p:nvSpPr>
          <p:cNvPr id="6" name="Segnaposto piè di pagina 5">
            <a:extLst>
              <a:ext uri="{FF2B5EF4-FFF2-40B4-BE49-F238E27FC236}">
                <a16:creationId xmlns:a16="http://schemas.microsoft.com/office/drawing/2014/main" id="{F21309A7-1B6A-B5F7-CFA4-9AE8F3C7D39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7" name="Segnaposto numero diapositiva 6">
            <a:extLst>
              <a:ext uri="{FF2B5EF4-FFF2-40B4-BE49-F238E27FC236}">
                <a16:creationId xmlns:a16="http://schemas.microsoft.com/office/drawing/2014/main" id="{4E86B851-74EF-1D3A-67DB-53CCE80633A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23FAE0-9C0B-9042-ACB2-889F11F7C8FF}" type="slidenum">
              <a:rPr lang="it-IT" smtClean="0"/>
              <a:t>‹#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62680175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nfron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FBD41B61-4586-0398-6AA0-4624D9DD7B7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testo 2">
            <a:extLst>
              <a:ext uri="{FF2B5EF4-FFF2-40B4-BE49-F238E27FC236}">
                <a16:creationId xmlns:a16="http://schemas.microsoft.com/office/drawing/2014/main" id="{1CBFC2C2-833C-A07F-1731-70527EEF821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4" name="Segnaposto contenuto 3">
            <a:extLst>
              <a:ext uri="{FF2B5EF4-FFF2-40B4-BE49-F238E27FC236}">
                <a16:creationId xmlns:a16="http://schemas.microsoft.com/office/drawing/2014/main" id="{62344A50-6A30-61ED-8052-F94DAAB9793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5" name="Segnaposto testo 4">
            <a:extLst>
              <a:ext uri="{FF2B5EF4-FFF2-40B4-BE49-F238E27FC236}">
                <a16:creationId xmlns:a16="http://schemas.microsoft.com/office/drawing/2014/main" id="{E25AC6D0-EA9F-3769-9EC6-11C415DC095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6" name="Segnaposto contenuto 5">
            <a:extLst>
              <a:ext uri="{FF2B5EF4-FFF2-40B4-BE49-F238E27FC236}">
                <a16:creationId xmlns:a16="http://schemas.microsoft.com/office/drawing/2014/main" id="{B54C0339-EE08-B1C2-0BA7-9CFEF45C6A58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7" name="Segnaposto data 6">
            <a:extLst>
              <a:ext uri="{FF2B5EF4-FFF2-40B4-BE49-F238E27FC236}">
                <a16:creationId xmlns:a16="http://schemas.microsoft.com/office/drawing/2014/main" id="{B7A2CD9D-AFD4-F0C0-7DF1-B5BED636E57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A7409B7-AFD0-844D-9A3A-DEBDC34EC35E}" type="datetimeFigureOut">
              <a:rPr lang="it-IT" smtClean="0"/>
              <a:t>15/12/2023</a:t>
            </a:fld>
            <a:endParaRPr lang="it-IT"/>
          </a:p>
        </p:txBody>
      </p:sp>
      <p:sp>
        <p:nvSpPr>
          <p:cNvPr id="8" name="Segnaposto piè di pagina 7">
            <a:extLst>
              <a:ext uri="{FF2B5EF4-FFF2-40B4-BE49-F238E27FC236}">
                <a16:creationId xmlns:a16="http://schemas.microsoft.com/office/drawing/2014/main" id="{9091C92A-D41E-37CA-641F-2525B053C71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9" name="Segnaposto numero diapositiva 8">
            <a:extLst>
              <a:ext uri="{FF2B5EF4-FFF2-40B4-BE49-F238E27FC236}">
                <a16:creationId xmlns:a16="http://schemas.microsoft.com/office/drawing/2014/main" id="{7FBEB8CF-EAD8-8748-12EC-4EFDF704F4D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23FAE0-9C0B-9042-ACB2-889F11F7C8FF}" type="slidenum">
              <a:rPr lang="it-IT" smtClean="0"/>
              <a:t>‹#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409699540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CFE20B81-3A97-C2F9-E0C1-C7A33D4F7E1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data 2">
            <a:extLst>
              <a:ext uri="{FF2B5EF4-FFF2-40B4-BE49-F238E27FC236}">
                <a16:creationId xmlns:a16="http://schemas.microsoft.com/office/drawing/2014/main" id="{CF43A68D-6D13-99D0-D0D5-91FEE67E9FF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A7409B7-AFD0-844D-9A3A-DEBDC34EC35E}" type="datetimeFigureOut">
              <a:rPr lang="it-IT" smtClean="0"/>
              <a:t>15/12/2023</a:t>
            </a:fld>
            <a:endParaRPr lang="it-IT"/>
          </a:p>
        </p:txBody>
      </p:sp>
      <p:sp>
        <p:nvSpPr>
          <p:cNvPr id="4" name="Segnaposto piè di pagina 3">
            <a:extLst>
              <a:ext uri="{FF2B5EF4-FFF2-40B4-BE49-F238E27FC236}">
                <a16:creationId xmlns:a16="http://schemas.microsoft.com/office/drawing/2014/main" id="{EA85A6DE-BE2D-0100-9AD9-3CE9A4EF714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5" name="Segnaposto numero diapositiva 4">
            <a:extLst>
              <a:ext uri="{FF2B5EF4-FFF2-40B4-BE49-F238E27FC236}">
                <a16:creationId xmlns:a16="http://schemas.microsoft.com/office/drawing/2014/main" id="{B6371329-AE20-B983-1DD7-5535E6065F9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23FAE0-9C0B-9042-ACB2-889F11F7C8FF}" type="slidenum">
              <a:rPr lang="it-IT" smtClean="0"/>
              <a:t>‹#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403567798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uo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data 1">
            <a:extLst>
              <a:ext uri="{FF2B5EF4-FFF2-40B4-BE49-F238E27FC236}">
                <a16:creationId xmlns:a16="http://schemas.microsoft.com/office/drawing/2014/main" id="{D1273442-2997-DB83-0416-A41B050C298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A7409B7-AFD0-844D-9A3A-DEBDC34EC35E}" type="datetimeFigureOut">
              <a:rPr lang="it-IT" smtClean="0"/>
              <a:t>15/12/2023</a:t>
            </a:fld>
            <a:endParaRPr lang="it-IT"/>
          </a:p>
        </p:txBody>
      </p:sp>
      <p:sp>
        <p:nvSpPr>
          <p:cNvPr id="3" name="Segnaposto piè di pagina 2">
            <a:extLst>
              <a:ext uri="{FF2B5EF4-FFF2-40B4-BE49-F238E27FC236}">
                <a16:creationId xmlns:a16="http://schemas.microsoft.com/office/drawing/2014/main" id="{7C815C07-CE54-6003-123A-8D137534277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egnaposto numero diapositiva 3">
            <a:extLst>
              <a:ext uri="{FF2B5EF4-FFF2-40B4-BE49-F238E27FC236}">
                <a16:creationId xmlns:a16="http://schemas.microsoft.com/office/drawing/2014/main" id="{D4F1DC49-B95D-262A-3535-A2906B65BEA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23FAE0-9C0B-9042-ACB2-889F11F7C8FF}" type="slidenum">
              <a:rPr lang="it-IT" smtClean="0"/>
              <a:t>‹#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17843505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to con didascal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A069D5D4-1B0B-E17B-0C9A-699812357F2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contenuto 2">
            <a:extLst>
              <a:ext uri="{FF2B5EF4-FFF2-40B4-BE49-F238E27FC236}">
                <a16:creationId xmlns:a16="http://schemas.microsoft.com/office/drawing/2014/main" id="{ADF750BD-921A-5C9F-5B69-E54EC68047D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testo 3">
            <a:extLst>
              <a:ext uri="{FF2B5EF4-FFF2-40B4-BE49-F238E27FC236}">
                <a16:creationId xmlns:a16="http://schemas.microsoft.com/office/drawing/2014/main" id="{4E31B0F2-1CF5-0B8A-7807-8F2F4BFC3FB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5" name="Segnaposto data 4">
            <a:extLst>
              <a:ext uri="{FF2B5EF4-FFF2-40B4-BE49-F238E27FC236}">
                <a16:creationId xmlns:a16="http://schemas.microsoft.com/office/drawing/2014/main" id="{5199366E-B0BC-733E-8E20-BB39818F7BD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A7409B7-AFD0-844D-9A3A-DEBDC34EC35E}" type="datetimeFigureOut">
              <a:rPr lang="it-IT" smtClean="0"/>
              <a:t>15/12/2023</a:t>
            </a:fld>
            <a:endParaRPr lang="it-IT"/>
          </a:p>
        </p:txBody>
      </p:sp>
      <p:sp>
        <p:nvSpPr>
          <p:cNvPr id="6" name="Segnaposto piè di pagina 5">
            <a:extLst>
              <a:ext uri="{FF2B5EF4-FFF2-40B4-BE49-F238E27FC236}">
                <a16:creationId xmlns:a16="http://schemas.microsoft.com/office/drawing/2014/main" id="{66BFA3C7-F1E2-BF28-4E2C-0BC16982B1E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7" name="Segnaposto numero diapositiva 6">
            <a:extLst>
              <a:ext uri="{FF2B5EF4-FFF2-40B4-BE49-F238E27FC236}">
                <a16:creationId xmlns:a16="http://schemas.microsoft.com/office/drawing/2014/main" id="{A3DCB9E6-CEC4-AF73-3C74-1E5D92CA0FE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23FAE0-9C0B-9042-ACB2-889F11F7C8FF}" type="slidenum">
              <a:rPr lang="it-IT" smtClean="0"/>
              <a:t>‹#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15510179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magine con didascal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462C5A0E-B12A-2A54-DB7D-C1B1816C432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immagine 2">
            <a:extLst>
              <a:ext uri="{FF2B5EF4-FFF2-40B4-BE49-F238E27FC236}">
                <a16:creationId xmlns:a16="http://schemas.microsoft.com/office/drawing/2014/main" id="{A2E980AF-6838-EFC7-C5DE-50EBD98CF90A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it-IT"/>
          </a:p>
        </p:txBody>
      </p:sp>
      <p:sp>
        <p:nvSpPr>
          <p:cNvPr id="4" name="Segnaposto testo 3">
            <a:extLst>
              <a:ext uri="{FF2B5EF4-FFF2-40B4-BE49-F238E27FC236}">
                <a16:creationId xmlns:a16="http://schemas.microsoft.com/office/drawing/2014/main" id="{D6D51D63-9685-FBEF-FF6B-DE78FBBAD303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5" name="Segnaposto data 4">
            <a:extLst>
              <a:ext uri="{FF2B5EF4-FFF2-40B4-BE49-F238E27FC236}">
                <a16:creationId xmlns:a16="http://schemas.microsoft.com/office/drawing/2014/main" id="{ED003C0D-7B54-C7DC-FB49-F170887E744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A7409B7-AFD0-844D-9A3A-DEBDC34EC35E}" type="datetimeFigureOut">
              <a:rPr lang="it-IT" smtClean="0"/>
              <a:t>15/12/2023</a:t>
            </a:fld>
            <a:endParaRPr lang="it-IT"/>
          </a:p>
        </p:txBody>
      </p:sp>
      <p:sp>
        <p:nvSpPr>
          <p:cNvPr id="6" name="Segnaposto piè di pagina 5">
            <a:extLst>
              <a:ext uri="{FF2B5EF4-FFF2-40B4-BE49-F238E27FC236}">
                <a16:creationId xmlns:a16="http://schemas.microsoft.com/office/drawing/2014/main" id="{CEEAE23D-8DD6-6FEB-E6CF-DE87E068246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7" name="Segnaposto numero diapositiva 6">
            <a:extLst>
              <a:ext uri="{FF2B5EF4-FFF2-40B4-BE49-F238E27FC236}">
                <a16:creationId xmlns:a16="http://schemas.microsoft.com/office/drawing/2014/main" id="{96CCDBD8-4BFF-CBFA-EC87-8FF0878AD82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23FAE0-9C0B-9042-ACB2-889F11F7C8FF}" type="slidenum">
              <a:rPr lang="it-IT" smtClean="0"/>
              <a:t>‹#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47078598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titolo 1">
            <a:extLst>
              <a:ext uri="{FF2B5EF4-FFF2-40B4-BE49-F238E27FC236}">
                <a16:creationId xmlns:a16="http://schemas.microsoft.com/office/drawing/2014/main" id="{49D26263-4252-8569-8E4A-C71A45E9985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testo 2">
            <a:extLst>
              <a:ext uri="{FF2B5EF4-FFF2-40B4-BE49-F238E27FC236}">
                <a16:creationId xmlns:a16="http://schemas.microsoft.com/office/drawing/2014/main" id="{A2FA7AD9-7A60-F35D-58B5-0E885E5238B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data 3">
            <a:extLst>
              <a:ext uri="{FF2B5EF4-FFF2-40B4-BE49-F238E27FC236}">
                <a16:creationId xmlns:a16="http://schemas.microsoft.com/office/drawing/2014/main" id="{C8DF3541-1DA1-4101-546F-125F5749224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A7409B7-AFD0-844D-9A3A-DEBDC34EC35E}" type="datetimeFigureOut">
              <a:rPr lang="it-IT" smtClean="0"/>
              <a:t>15/12/2023</a:t>
            </a:fld>
            <a:endParaRPr lang="it-IT"/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63B96376-DE36-2C3C-2DCE-EF3C9784A51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it-IT"/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7B944A5B-A358-F7D7-4918-B38AED3696D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823FAE0-9C0B-9042-ACB2-889F11F7C8FF}" type="slidenum">
              <a:rPr lang="it-IT" smtClean="0"/>
              <a:t>‹#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18735420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it-I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image" Target="../media/image6.svg"/><Relationship Id="rId7" Type="http://schemas.openxmlformats.org/officeDocument/2006/relationships/image" Target="../media/image10.sv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9.png"/><Relationship Id="rId11" Type="http://schemas.openxmlformats.org/officeDocument/2006/relationships/image" Target="../media/image14.svg"/><Relationship Id="rId5" Type="http://schemas.openxmlformats.org/officeDocument/2006/relationships/image" Target="../media/image8.svg"/><Relationship Id="rId10" Type="http://schemas.openxmlformats.org/officeDocument/2006/relationships/image" Target="../media/image13.png"/><Relationship Id="rId4" Type="http://schemas.openxmlformats.org/officeDocument/2006/relationships/image" Target="../media/image7.png"/><Relationship Id="rId9" Type="http://schemas.openxmlformats.org/officeDocument/2006/relationships/image" Target="../media/image12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1.png"/><Relationship Id="rId4" Type="http://schemas.openxmlformats.org/officeDocument/2006/relationships/image" Target="../media/image16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svg"/><Relationship Id="rId7" Type="http://schemas.openxmlformats.org/officeDocument/2006/relationships/image" Target="../media/image20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9.png"/><Relationship Id="rId5" Type="http://schemas.openxmlformats.org/officeDocument/2006/relationships/image" Target="../media/image18.svg"/><Relationship Id="rId4" Type="http://schemas.openxmlformats.org/officeDocument/2006/relationships/image" Target="../media/image17.pn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5B151964-B387-F72E-A439-7B48DDCC72D3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3" name="Sottotitolo 2">
            <a:extLst>
              <a:ext uri="{FF2B5EF4-FFF2-40B4-BE49-F238E27FC236}">
                <a16:creationId xmlns:a16="http://schemas.microsoft.com/office/drawing/2014/main" id="{F344DBCC-7620-840C-86DA-D29550A44E00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it-IT"/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48A5522B-97AE-9D9C-6A5B-03E43610E64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2614" y="184638"/>
            <a:ext cx="11551140" cy="64975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Figura a mano libera 9">
            <a:extLst>
              <a:ext uri="{FF2B5EF4-FFF2-40B4-BE49-F238E27FC236}">
                <a16:creationId xmlns:a16="http://schemas.microsoft.com/office/drawing/2014/main" id="{89C8D494-FBC3-00C6-4EDF-C12C9A67896F}"/>
              </a:ext>
            </a:extLst>
          </p:cNvPr>
          <p:cNvSpPr/>
          <p:nvPr/>
        </p:nvSpPr>
        <p:spPr>
          <a:xfrm>
            <a:off x="211014" y="175846"/>
            <a:ext cx="11793417" cy="6518031"/>
          </a:xfrm>
          <a:custGeom>
            <a:avLst/>
            <a:gdLst/>
            <a:ahLst/>
            <a:cxnLst/>
            <a:rect l="l" t="t" r="r" b="b"/>
            <a:pathLst>
              <a:path w="12192000" h="6858000">
                <a:moveTo>
                  <a:pt x="3136414" y="2716692"/>
                </a:moveTo>
                <a:lnTo>
                  <a:pt x="3221702" y="2716692"/>
                </a:lnTo>
                <a:cubicBezTo>
                  <a:pt x="3344538" y="2716692"/>
                  <a:pt x="3405956" y="2794738"/>
                  <a:pt x="3405956" y="2950831"/>
                </a:cubicBezTo>
                <a:cubicBezTo>
                  <a:pt x="3405956" y="3087077"/>
                  <a:pt x="3346415" y="3155200"/>
                  <a:pt x="3227334" y="3155200"/>
                </a:cubicBezTo>
                <a:lnTo>
                  <a:pt x="3136414" y="3155200"/>
                </a:lnTo>
                <a:close/>
                <a:moveTo>
                  <a:pt x="3136414" y="2238758"/>
                </a:moveTo>
                <a:lnTo>
                  <a:pt x="3226530" y="2238758"/>
                </a:lnTo>
                <a:cubicBezTo>
                  <a:pt x="3322545" y="2238758"/>
                  <a:pt x="3370553" y="2300713"/>
                  <a:pt x="3370553" y="2424622"/>
                </a:cubicBezTo>
                <a:cubicBezTo>
                  <a:pt x="3370553" y="2558722"/>
                  <a:pt x="3325228" y="2625772"/>
                  <a:pt x="3234576" y="2625772"/>
                </a:cubicBezTo>
                <a:lnTo>
                  <a:pt x="3136414" y="2625772"/>
                </a:lnTo>
                <a:close/>
                <a:moveTo>
                  <a:pt x="8118389" y="2147838"/>
                </a:moveTo>
                <a:lnTo>
                  <a:pt x="8118389" y="3246120"/>
                </a:lnTo>
                <a:lnTo>
                  <a:pt x="8225401" y="3246120"/>
                </a:lnTo>
                <a:lnTo>
                  <a:pt x="8225401" y="2494622"/>
                </a:lnTo>
                <a:lnTo>
                  <a:pt x="8445058" y="3246120"/>
                </a:lnTo>
                <a:lnTo>
                  <a:pt x="8622874" y="3246120"/>
                </a:lnTo>
                <a:lnTo>
                  <a:pt x="8836899" y="2481748"/>
                </a:lnTo>
                <a:lnTo>
                  <a:pt x="8836899" y="3246120"/>
                </a:lnTo>
                <a:lnTo>
                  <a:pt x="9144257" y="3246120"/>
                </a:lnTo>
                <a:lnTo>
                  <a:pt x="9144257" y="2147838"/>
                </a:lnTo>
                <a:lnTo>
                  <a:pt x="8817588" y="2147838"/>
                </a:lnTo>
                <a:lnTo>
                  <a:pt x="8630116" y="2810831"/>
                </a:lnTo>
                <a:lnTo>
                  <a:pt x="8441839" y="2147838"/>
                </a:lnTo>
                <a:close/>
                <a:moveTo>
                  <a:pt x="7112632" y="2147838"/>
                </a:moveTo>
                <a:lnTo>
                  <a:pt x="7112632" y="2884854"/>
                </a:lnTo>
                <a:cubicBezTo>
                  <a:pt x="7112632" y="3137499"/>
                  <a:pt x="7251828" y="3263822"/>
                  <a:pt x="7530221" y="3263822"/>
                </a:cubicBezTo>
                <a:cubicBezTo>
                  <a:pt x="7809686" y="3263822"/>
                  <a:pt x="7949418" y="3137499"/>
                  <a:pt x="7949418" y="2884854"/>
                </a:cubicBezTo>
                <a:lnTo>
                  <a:pt x="7949418" y="2147838"/>
                </a:lnTo>
                <a:lnTo>
                  <a:pt x="7842406" y="2147838"/>
                </a:lnTo>
                <a:lnTo>
                  <a:pt x="7842406" y="2884854"/>
                </a:lnTo>
                <a:cubicBezTo>
                  <a:pt x="7842406" y="3058648"/>
                  <a:pt x="7770260" y="3145545"/>
                  <a:pt x="7625968" y="3145545"/>
                </a:cubicBezTo>
                <a:cubicBezTo>
                  <a:pt x="7551408" y="3145545"/>
                  <a:pt x="7500316" y="3127844"/>
                  <a:pt x="7472692" y="3092441"/>
                </a:cubicBezTo>
                <a:cubicBezTo>
                  <a:pt x="7445067" y="3057039"/>
                  <a:pt x="7431254" y="2991061"/>
                  <a:pt x="7431255" y="2894509"/>
                </a:cubicBezTo>
                <a:lnTo>
                  <a:pt x="7431255" y="2147838"/>
                </a:lnTo>
                <a:close/>
                <a:moveTo>
                  <a:pt x="6610351" y="2147838"/>
                </a:moveTo>
                <a:lnTo>
                  <a:pt x="6610351" y="3246120"/>
                </a:lnTo>
                <a:lnTo>
                  <a:pt x="6928973" y="3246120"/>
                </a:lnTo>
                <a:lnTo>
                  <a:pt x="6928973" y="2147838"/>
                </a:lnTo>
                <a:close/>
                <a:moveTo>
                  <a:pt x="4733121" y="2147838"/>
                </a:moveTo>
                <a:lnTo>
                  <a:pt x="4733121" y="3246120"/>
                </a:lnTo>
                <a:lnTo>
                  <a:pt x="5503125" y="3246120"/>
                </a:lnTo>
                <a:lnTo>
                  <a:pt x="5503125" y="3135890"/>
                </a:lnTo>
                <a:lnTo>
                  <a:pt x="5051744" y="3135890"/>
                </a:lnTo>
                <a:lnTo>
                  <a:pt x="5051744" y="2147838"/>
                </a:lnTo>
                <a:close/>
                <a:moveTo>
                  <a:pt x="3856017" y="2147838"/>
                </a:moveTo>
                <a:lnTo>
                  <a:pt x="3856017" y="3246120"/>
                </a:lnTo>
                <a:lnTo>
                  <a:pt x="4634871" y="3246120"/>
                </a:lnTo>
                <a:lnTo>
                  <a:pt x="4634871" y="3135890"/>
                </a:lnTo>
                <a:lnTo>
                  <a:pt x="4174639" y="3135890"/>
                </a:lnTo>
                <a:lnTo>
                  <a:pt x="4174639" y="2700600"/>
                </a:lnTo>
                <a:lnTo>
                  <a:pt x="4505331" y="2700600"/>
                </a:lnTo>
                <a:lnTo>
                  <a:pt x="4505331" y="2590370"/>
                </a:lnTo>
                <a:lnTo>
                  <a:pt x="4174639" y="2590370"/>
                </a:lnTo>
                <a:lnTo>
                  <a:pt x="4174639" y="2258069"/>
                </a:lnTo>
                <a:lnTo>
                  <a:pt x="4568090" y="2258069"/>
                </a:lnTo>
                <a:lnTo>
                  <a:pt x="4568090" y="2147838"/>
                </a:lnTo>
                <a:close/>
                <a:moveTo>
                  <a:pt x="2817792" y="2147838"/>
                </a:moveTo>
                <a:lnTo>
                  <a:pt x="2817792" y="3246120"/>
                </a:lnTo>
                <a:lnTo>
                  <a:pt x="3360898" y="3246120"/>
                </a:lnTo>
                <a:cubicBezTo>
                  <a:pt x="3607106" y="3246120"/>
                  <a:pt x="3730210" y="3148763"/>
                  <a:pt x="3730210" y="2954050"/>
                </a:cubicBezTo>
                <a:cubicBezTo>
                  <a:pt x="3730210" y="2796348"/>
                  <a:pt x="3638754" y="2699259"/>
                  <a:pt x="3455841" y="2662784"/>
                </a:cubicBezTo>
                <a:cubicBezTo>
                  <a:pt x="3607643" y="2626845"/>
                  <a:pt x="3683544" y="2545044"/>
                  <a:pt x="3683544" y="2417380"/>
                </a:cubicBezTo>
                <a:cubicBezTo>
                  <a:pt x="3683544" y="2237686"/>
                  <a:pt x="3557758" y="2147838"/>
                  <a:pt x="3306185" y="2147838"/>
                </a:cubicBezTo>
                <a:close/>
                <a:moveTo>
                  <a:pt x="6039600" y="2129333"/>
                </a:moveTo>
                <a:cubicBezTo>
                  <a:pt x="5885652" y="2129333"/>
                  <a:pt x="5761073" y="2182570"/>
                  <a:pt x="5665862" y="2289046"/>
                </a:cubicBezTo>
                <a:cubicBezTo>
                  <a:pt x="5570651" y="2395522"/>
                  <a:pt x="5523045" y="2534852"/>
                  <a:pt x="5523045" y="2707037"/>
                </a:cubicBezTo>
                <a:cubicBezTo>
                  <a:pt x="5523045" y="2884049"/>
                  <a:pt x="5567969" y="3021234"/>
                  <a:pt x="5657816" y="3118591"/>
                </a:cubicBezTo>
                <a:cubicBezTo>
                  <a:pt x="5747663" y="3215948"/>
                  <a:pt x="5873852" y="3264626"/>
                  <a:pt x="6036381" y="3264626"/>
                </a:cubicBezTo>
                <a:cubicBezTo>
                  <a:pt x="6135079" y="3264626"/>
                  <a:pt x="6228681" y="3233247"/>
                  <a:pt x="6317187" y="3170488"/>
                </a:cubicBezTo>
                <a:lnTo>
                  <a:pt x="6351785" y="3246120"/>
                </a:lnTo>
                <a:lnTo>
                  <a:pt x="6453165" y="3246120"/>
                </a:lnTo>
                <a:lnTo>
                  <a:pt x="6453165" y="2653129"/>
                </a:lnTo>
                <a:lnTo>
                  <a:pt x="6000979" y="2653129"/>
                </a:lnTo>
                <a:lnTo>
                  <a:pt x="6000979" y="2763359"/>
                </a:lnTo>
                <a:lnTo>
                  <a:pt x="6159485" y="2763359"/>
                </a:lnTo>
                <a:lnTo>
                  <a:pt x="6159485" y="3033705"/>
                </a:lnTo>
                <a:cubicBezTo>
                  <a:pt x="6159485" y="3121675"/>
                  <a:pt x="6120060" y="3165660"/>
                  <a:pt x="6041209" y="3165660"/>
                </a:cubicBezTo>
                <a:cubicBezTo>
                  <a:pt x="5974159" y="3165660"/>
                  <a:pt x="5928699" y="3134281"/>
                  <a:pt x="5904830" y="3071522"/>
                </a:cubicBezTo>
                <a:cubicBezTo>
                  <a:pt x="5880959" y="3008763"/>
                  <a:pt x="5869024" y="2889950"/>
                  <a:pt x="5869024" y="2715083"/>
                </a:cubicBezTo>
                <a:cubicBezTo>
                  <a:pt x="5869024" y="2527879"/>
                  <a:pt x="5883775" y="2399947"/>
                  <a:pt x="5913277" y="2331288"/>
                </a:cubicBezTo>
                <a:cubicBezTo>
                  <a:pt x="5942779" y="2262628"/>
                  <a:pt x="5997760" y="2228299"/>
                  <a:pt x="6078221" y="2228299"/>
                </a:cubicBezTo>
                <a:cubicBezTo>
                  <a:pt x="6187646" y="2228299"/>
                  <a:pt x="6247455" y="2292935"/>
                  <a:pt x="6257647" y="2422208"/>
                </a:cubicBezTo>
                <a:lnTo>
                  <a:pt x="6260061" y="2481748"/>
                </a:lnTo>
                <a:lnTo>
                  <a:pt x="6260061" y="2508300"/>
                </a:lnTo>
                <a:lnTo>
                  <a:pt x="6409717" y="2439909"/>
                </a:lnTo>
                <a:cubicBezTo>
                  <a:pt x="6365731" y="2232858"/>
                  <a:pt x="6242359" y="2129333"/>
                  <a:pt x="6039600" y="2129333"/>
                </a:cubicBez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11" name="CasellaDiTesto 10">
            <a:extLst>
              <a:ext uri="{FF2B5EF4-FFF2-40B4-BE49-F238E27FC236}">
                <a16:creationId xmlns:a16="http://schemas.microsoft.com/office/drawing/2014/main" id="{72C55220-08DB-8744-1990-40A84692B54F}"/>
              </a:ext>
            </a:extLst>
          </p:cNvPr>
          <p:cNvSpPr txBox="1"/>
          <p:nvPr/>
        </p:nvSpPr>
        <p:spPr>
          <a:xfrm>
            <a:off x="4097294" y="3429000"/>
            <a:ext cx="399741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>
                <a:latin typeface="American Typewriter" panose="02090604020004020304" pitchFamily="18" charset="77"/>
              </a:rPr>
              <a:t>Macroeconomic </a:t>
            </a:r>
            <a:r>
              <a:rPr lang="it-IT" err="1">
                <a:latin typeface="American Typewriter" panose="02090604020004020304" pitchFamily="18" charset="77"/>
              </a:rPr>
              <a:t>Transformation</a:t>
            </a:r>
            <a:endParaRPr lang="it-IT">
              <a:latin typeface="American Typewriter" panose="02090604020004020304" pitchFamily="18" charset="77"/>
            </a:endParaRPr>
          </a:p>
        </p:txBody>
      </p:sp>
      <p:sp>
        <p:nvSpPr>
          <p:cNvPr id="12" name="CasellaDiTesto 11">
            <a:extLst>
              <a:ext uri="{FF2B5EF4-FFF2-40B4-BE49-F238E27FC236}">
                <a16:creationId xmlns:a16="http://schemas.microsoft.com/office/drawing/2014/main" id="{E803987B-5001-43CE-FD85-D338AEB0BE9E}"/>
              </a:ext>
            </a:extLst>
          </p:cNvPr>
          <p:cNvSpPr txBox="1"/>
          <p:nvPr/>
        </p:nvSpPr>
        <p:spPr>
          <a:xfrm>
            <a:off x="1959428" y="6104969"/>
            <a:ext cx="827314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1400">
                <a:latin typeface="American Typewriter" panose="02090604020004020304" pitchFamily="18" charset="77"/>
              </a:rPr>
              <a:t>Davide </a:t>
            </a:r>
            <a:r>
              <a:rPr lang="it-IT" sz="1400" err="1">
                <a:latin typeface="American Typewriter" panose="02090604020004020304" pitchFamily="18" charset="77"/>
              </a:rPr>
              <a:t>Chengrui</a:t>
            </a:r>
            <a:r>
              <a:rPr lang="it-IT" sz="1400">
                <a:latin typeface="American Typewriter" panose="02090604020004020304" pitchFamily="18" charset="77"/>
              </a:rPr>
              <a:t> </a:t>
            </a:r>
            <a:r>
              <a:rPr lang="it-IT" sz="1400" err="1">
                <a:latin typeface="American Typewriter" panose="02090604020004020304" pitchFamily="18" charset="77"/>
              </a:rPr>
              <a:t>Xie</a:t>
            </a:r>
            <a:r>
              <a:rPr lang="it-IT" sz="1400">
                <a:latin typeface="American Typewriter" panose="02090604020004020304" pitchFamily="18" charset="77"/>
              </a:rPr>
              <a:t> – Fabian </a:t>
            </a:r>
            <a:r>
              <a:rPr lang="it-IT" sz="1400" err="1">
                <a:latin typeface="American Typewriter" panose="02090604020004020304" pitchFamily="18" charset="77"/>
              </a:rPr>
              <a:t>Bellgardt</a:t>
            </a:r>
            <a:r>
              <a:rPr lang="it-IT" sz="1400">
                <a:latin typeface="American Typewriter" panose="02090604020004020304" pitchFamily="18" charset="77"/>
              </a:rPr>
              <a:t> – </a:t>
            </a:r>
            <a:r>
              <a:rPr lang="it-IT" sz="1400" err="1">
                <a:latin typeface="American Typewriter" panose="02090604020004020304" pitchFamily="18" charset="77"/>
              </a:rPr>
              <a:t>Ianina</a:t>
            </a:r>
            <a:r>
              <a:rPr lang="it-IT" sz="1400">
                <a:latin typeface="American Typewriter" panose="02090604020004020304" pitchFamily="18" charset="77"/>
              </a:rPr>
              <a:t> Tarca – </a:t>
            </a:r>
            <a:r>
              <a:rPr lang="it-IT" sz="1400" err="1">
                <a:latin typeface="American Typewriter" panose="02090604020004020304" pitchFamily="18" charset="77"/>
              </a:rPr>
              <a:t>Ildem</a:t>
            </a:r>
            <a:r>
              <a:rPr lang="it-IT" sz="1400">
                <a:latin typeface="American Typewriter" panose="02090604020004020304" pitchFamily="18" charset="77"/>
              </a:rPr>
              <a:t> </a:t>
            </a:r>
            <a:r>
              <a:rPr lang="it-IT" sz="1400" err="1">
                <a:latin typeface="American Typewriter" panose="02090604020004020304" pitchFamily="18" charset="77"/>
              </a:rPr>
              <a:t>Demir</a:t>
            </a:r>
            <a:r>
              <a:rPr lang="it-IT" sz="1400">
                <a:latin typeface="American Typewriter" panose="02090604020004020304" pitchFamily="18" charset="77"/>
              </a:rPr>
              <a:t> – </a:t>
            </a:r>
            <a:r>
              <a:rPr lang="en-US" sz="1400" b="0">
                <a:latin typeface="American Typewriter" panose="02090604020004020304" pitchFamily="18" charset="77"/>
                <a:ea typeface="Calibri"/>
                <a:cs typeface="Arial"/>
              </a:rPr>
              <a:t>Tomas</a:t>
            </a:r>
            <a:r>
              <a:rPr lang="en-US" sz="1400" b="0">
                <a:effectLst/>
                <a:latin typeface="American Typewriter" panose="02090604020004020304" pitchFamily="18" charset="77"/>
                <a:ea typeface="Calibri"/>
                <a:cs typeface="Arial"/>
              </a:rPr>
              <a:t> </a:t>
            </a:r>
            <a:r>
              <a:rPr lang="en-US" sz="1400" b="0" err="1">
                <a:effectLst/>
                <a:latin typeface="American Typewriter" panose="02090604020004020304" pitchFamily="18" charset="77"/>
                <a:ea typeface="Calibri"/>
                <a:cs typeface="Arial"/>
              </a:rPr>
              <a:t>Carzolio</a:t>
            </a:r>
            <a:r>
              <a:rPr lang="en-US" sz="1400" b="0">
                <a:effectLst/>
                <a:latin typeface="American Typewriter" panose="02090604020004020304" pitchFamily="18" charset="77"/>
                <a:ea typeface="Calibri"/>
                <a:cs typeface="Arial"/>
              </a:rPr>
              <a:t> </a:t>
            </a:r>
            <a:r>
              <a:rPr lang="en-US" sz="1400" b="0" err="1">
                <a:effectLst/>
                <a:latin typeface="American Typewriter" panose="02090604020004020304" pitchFamily="18" charset="77"/>
                <a:ea typeface="Calibri"/>
                <a:cs typeface="Arial"/>
              </a:rPr>
              <a:t>Legeren</a:t>
            </a:r>
            <a:endParaRPr lang="it-IT" sz="1400">
              <a:latin typeface="American Typewriter" panose="02090604020004020304" pitchFamily="18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214595132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ABAB66A0-CBB0-4D39-F496-EA59992CB49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3" name="Segnaposto contenuto 2">
            <a:extLst>
              <a:ext uri="{FF2B5EF4-FFF2-40B4-BE49-F238E27FC236}">
                <a16:creationId xmlns:a16="http://schemas.microsoft.com/office/drawing/2014/main" id="{40C9BBA7-65AD-A311-1C50-E29EB0B7A3F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it-IT"/>
          </a:p>
        </p:txBody>
      </p:sp>
      <p:pic>
        <p:nvPicPr>
          <p:cNvPr id="2050" name="Picture 2">
            <a:extLst>
              <a:ext uri="{FF2B5EF4-FFF2-40B4-BE49-F238E27FC236}">
                <a16:creationId xmlns:a16="http://schemas.microsoft.com/office/drawing/2014/main" id="{51550763-F497-E325-2005-82B52630E14B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1597"/>
          <a:stretch/>
        </p:blipFill>
        <p:spPr bwMode="auto">
          <a:xfrm>
            <a:off x="-469557" y="-1"/>
            <a:ext cx="11823357" cy="68580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CasellaDiTesto 7">
            <a:extLst>
              <a:ext uri="{FF2B5EF4-FFF2-40B4-BE49-F238E27FC236}">
                <a16:creationId xmlns:a16="http://schemas.microsoft.com/office/drawing/2014/main" id="{67B7BDCE-17CB-68A8-CCF6-BD9F7EC3B395}"/>
              </a:ext>
            </a:extLst>
          </p:cNvPr>
          <p:cNvSpPr txBox="1"/>
          <p:nvPr/>
        </p:nvSpPr>
        <p:spPr>
          <a:xfrm>
            <a:off x="469557" y="365125"/>
            <a:ext cx="7166919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4000" b="1" err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oday’s</a:t>
            </a:r>
            <a:r>
              <a:rPr lang="it-IT" sz="4000" b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Agenda</a:t>
            </a:r>
          </a:p>
        </p:txBody>
      </p:sp>
      <p:sp>
        <p:nvSpPr>
          <p:cNvPr id="9" name="CasellaDiTesto 8">
            <a:extLst>
              <a:ext uri="{FF2B5EF4-FFF2-40B4-BE49-F238E27FC236}">
                <a16:creationId xmlns:a16="http://schemas.microsoft.com/office/drawing/2014/main" id="{FAA01AB6-0470-F4E0-344F-439094C46A0F}"/>
              </a:ext>
            </a:extLst>
          </p:cNvPr>
          <p:cNvSpPr txBox="1"/>
          <p:nvPr/>
        </p:nvSpPr>
        <p:spPr>
          <a:xfrm>
            <a:off x="469557" y="1825624"/>
            <a:ext cx="6400800" cy="26776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57200" indent="-457200">
              <a:buFont typeface="+mj-lt"/>
              <a:buAutoNum type="arabicPeriod"/>
            </a:pPr>
            <a:r>
              <a:rPr lang="it-IT" sz="2400" b="1" err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conomic</a:t>
            </a:r>
            <a:r>
              <a:rPr lang="it-IT" sz="2400" b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Situation</a:t>
            </a:r>
          </a:p>
          <a:p>
            <a:pPr marL="457200" indent="-457200">
              <a:buFont typeface="+mj-lt"/>
              <a:buAutoNum type="arabicPeriod"/>
            </a:pPr>
            <a:endParaRPr lang="it-IT" sz="2400" b="1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457200" indent="-457200">
              <a:buFont typeface="+mj-lt"/>
              <a:buAutoNum type="arabicPeriod"/>
            </a:pPr>
            <a:r>
              <a:rPr lang="it-IT" sz="2400" b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ritical Issues</a:t>
            </a:r>
          </a:p>
          <a:p>
            <a:pPr marL="457200" indent="-457200">
              <a:buFont typeface="+mj-lt"/>
              <a:buAutoNum type="arabicPeriod"/>
            </a:pPr>
            <a:endParaRPr lang="it-IT" sz="2400" b="1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457200" indent="-457200">
              <a:buFont typeface="+mj-lt"/>
              <a:buAutoNum type="arabicPeriod"/>
            </a:pPr>
            <a:r>
              <a:rPr lang="it-IT" sz="2400" b="1" err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conomic</a:t>
            </a:r>
            <a:r>
              <a:rPr lang="it-IT" sz="2400" b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it-IT" sz="2400" b="1" err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Reforms</a:t>
            </a:r>
            <a:endParaRPr lang="it-IT" sz="2400" b="1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457200" indent="-457200">
              <a:buFont typeface="+mj-lt"/>
              <a:buAutoNum type="arabicPeriod"/>
            </a:pPr>
            <a:endParaRPr lang="it-IT" sz="2400" b="1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457200" indent="-457200">
              <a:buFont typeface="+mj-lt"/>
              <a:buAutoNum type="arabicPeriod"/>
            </a:pPr>
            <a:r>
              <a:rPr lang="it-IT" sz="2400" b="1" err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Recommendations</a:t>
            </a:r>
            <a:endParaRPr lang="it-IT" sz="2400" b="1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0" name="Rettangolo 9">
            <a:extLst>
              <a:ext uri="{FF2B5EF4-FFF2-40B4-BE49-F238E27FC236}">
                <a16:creationId xmlns:a16="http://schemas.microsoft.com/office/drawing/2014/main" id="{ACD71A32-1ECA-8D5A-5F2B-4585298BA29E}"/>
              </a:ext>
            </a:extLst>
          </p:cNvPr>
          <p:cNvSpPr/>
          <p:nvPr/>
        </p:nvSpPr>
        <p:spPr>
          <a:xfrm>
            <a:off x="11353801" y="0"/>
            <a:ext cx="521676" cy="6858000"/>
          </a:xfrm>
          <a:prstGeom prst="rect">
            <a:avLst/>
          </a:prstGeom>
          <a:solidFill>
            <a:srgbClr val="C0000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13" name="Rectangle 7">
            <a:extLst>
              <a:ext uri="{FF2B5EF4-FFF2-40B4-BE49-F238E27FC236}">
                <a16:creationId xmlns:a16="http://schemas.microsoft.com/office/drawing/2014/main" id="{E6400E9F-CBE8-6B4B-7D7D-4A08E8CBCFED}"/>
              </a:ext>
            </a:extLst>
          </p:cNvPr>
          <p:cNvSpPr/>
          <p:nvPr/>
        </p:nvSpPr>
        <p:spPr>
          <a:xfrm>
            <a:off x="11875476" y="0"/>
            <a:ext cx="316523" cy="6871648"/>
          </a:xfrm>
          <a:prstGeom prst="rect">
            <a:avLst/>
          </a:prstGeom>
          <a:solidFill>
            <a:srgbClr val="FCE7CA"/>
          </a:solidFill>
          <a:effectLst/>
        </p:spPr>
        <p:txBody>
          <a:bodyPr lIns="108000" tIns="72000" rIns="72000" bIns="72000" anchor="ctr"/>
          <a:lstStyle/>
          <a:p>
            <a:pPr defTabSz="1087636"/>
            <a:endParaRPr lang="en-US" sz="140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13302491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1750">
        <p159:morph option="byObject"/>
      </p:transition>
    </mc:Choice>
    <mc:Fallback>
      <p:transition spd="slow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7">
            <a:extLst>
              <a:ext uri="{FF2B5EF4-FFF2-40B4-BE49-F238E27FC236}">
                <a16:creationId xmlns:a16="http://schemas.microsoft.com/office/drawing/2014/main" id="{6BECE92B-9E11-BB32-231B-9271A5FB8669}"/>
              </a:ext>
            </a:extLst>
          </p:cNvPr>
          <p:cNvSpPr/>
          <p:nvPr/>
        </p:nvSpPr>
        <p:spPr>
          <a:xfrm>
            <a:off x="0" y="13648"/>
            <a:ext cx="12192000" cy="6858000"/>
          </a:xfrm>
          <a:prstGeom prst="rect">
            <a:avLst/>
          </a:prstGeom>
          <a:solidFill>
            <a:srgbClr val="FCE7CA"/>
          </a:solidFill>
          <a:effectLst/>
        </p:spPr>
        <p:txBody>
          <a:bodyPr lIns="108000" tIns="72000" rIns="72000" bIns="72000" anchor="ctr"/>
          <a:lstStyle/>
          <a:p>
            <a:pPr defTabSz="1087636"/>
            <a:endParaRPr lang="en-US" sz="140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6" name="TextBox 22">
            <a:extLst>
              <a:ext uri="{FF2B5EF4-FFF2-40B4-BE49-F238E27FC236}">
                <a16:creationId xmlns:a16="http://schemas.microsoft.com/office/drawing/2014/main" id="{8993508D-30EE-F9AE-9FA0-FED53E72E25B}"/>
              </a:ext>
            </a:extLst>
          </p:cNvPr>
          <p:cNvSpPr txBox="1"/>
          <p:nvPr/>
        </p:nvSpPr>
        <p:spPr>
          <a:xfrm>
            <a:off x="471693" y="1117740"/>
            <a:ext cx="1955515" cy="307777"/>
          </a:xfrm>
          <a:prstGeom prst="rect">
            <a:avLst/>
          </a:prstGeom>
          <a:noFill/>
        </p:spPr>
        <p:txBody>
          <a:bodyPr wrap="square" lIns="0" tIns="45720" rIns="91440" bIns="45720" rtlCol="0" anchor="t" anchorCtr="0">
            <a:spAutoFit/>
          </a:bodyPr>
          <a:lstStyle/>
          <a:p>
            <a:pPr algn="ctr"/>
            <a:r>
              <a:rPr lang="en-US" sz="1400" b="1">
                <a:solidFill>
                  <a:srgbClr val="C00000"/>
                </a:solidFill>
                <a:latin typeface="Verdana"/>
                <a:ea typeface="Verdana"/>
              </a:rPr>
              <a:t>Present</a:t>
            </a:r>
            <a:endParaRPr lang="tr-TR">
              <a:solidFill>
                <a:srgbClr val="C00000"/>
              </a:solidFill>
            </a:endParaRPr>
          </a:p>
        </p:txBody>
      </p:sp>
      <p:sp>
        <p:nvSpPr>
          <p:cNvPr id="17" name="TextBox 22">
            <a:extLst>
              <a:ext uri="{FF2B5EF4-FFF2-40B4-BE49-F238E27FC236}">
                <a16:creationId xmlns:a16="http://schemas.microsoft.com/office/drawing/2014/main" id="{F39C37F3-91B1-5CAE-89DA-0E0A260B816E}"/>
              </a:ext>
            </a:extLst>
          </p:cNvPr>
          <p:cNvSpPr txBox="1"/>
          <p:nvPr/>
        </p:nvSpPr>
        <p:spPr>
          <a:xfrm>
            <a:off x="2886003" y="1117740"/>
            <a:ext cx="2008432" cy="307777"/>
          </a:xfrm>
          <a:prstGeom prst="rect">
            <a:avLst/>
          </a:prstGeom>
          <a:noFill/>
        </p:spPr>
        <p:txBody>
          <a:bodyPr wrap="square" lIns="0" tIns="45720" rIns="91440" bIns="45720" rtlCol="0" anchor="t" anchorCtr="0">
            <a:spAutoFit/>
          </a:bodyPr>
          <a:lstStyle/>
          <a:p>
            <a:pPr algn="ctr"/>
            <a:r>
              <a:rPr lang="en-US" sz="1400" b="1">
                <a:solidFill>
                  <a:srgbClr val="C00000"/>
                </a:solidFill>
                <a:latin typeface="Verdana"/>
                <a:ea typeface="Verdana"/>
              </a:rPr>
              <a:t>Past Decade</a:t>
            </a:r>
            <a:endParaRPr lang="tr-TR">
              <a:solidFill>
                <a:srgbClr val="C00000"/>
              </a:solidFill>
              <a:ea typeface="Verdana"/>
            </a:endParaRPr>
          </a:p>
        </p:txBody>
      </p:sp>
      <p:cxnSp>
        <p:nvCxnSpPr>
          <p:cNvPr id="12" name="Straight Connector 9">
            <a:extLst>
              <a:ext uri="{FF2B5EF4-FFF2-40B4-BE49-F238E27FC236}">
                <a16:creationId xmlns:a16="http://schemas.microsoft.com/office/drawing/2014/main" id="{B4CFF57C-5598-2A44-761B-ED182F72D8AB}"/>
              </a:ext>
            </a:extLst>
          </p:cNvPr>
          <p:cNvCxnSpPr>
            <a:cxnSpLocks/>
          </p:cNvCxnSpPr>
          <p:nvPr/>
        </p:nvCxnSpPr>
        <p:spPr>
          <a:xfrm flipV="1">
            <a:off x="471693" y="1545747"/>
            <a:ext cx="2009112" cy="10582"/>
          </a:xfrm>
          <a:prstGeom prst="line">
            <a:avLst/>
          </a:prstGeom>
          <a:ln w="9525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Box 22">
            <a:extLst>
              <a:ext uri="{FF2B5EF4-FFF2-40B4-BE49-F238E27FC236}">
                <a16:creationId xmlns:a16="http://schemas.microsoft.com/office/drawing/2014/main" id="{B709ADFD-82AE-AED0-806D-980BBE43F226}"/>
              </a:ext>
            </a:extLst>
          </p:cNvPr>
          <p:cNvSpPr txBox="1"/>
          <p:nvPr/>
        </p:nvSpPr>
        <p:spPr>
          <a:xfrm>
            <a:off x="5223592" y="1117740"/>
            <a:ext cx="2008432" cy="307777"/>
          </a:xfrm>
          <a:prstGeom prst="rect">
            <a:avLst/>
          </a:prstGeom>
          <a:noFill/>
        </p:spPr>
        <p:txBody>
          <a:bodyPr wrap="square" lIns="0" tIns="45720" rIns="91440" bIns="45720" rtlCol="0" anchor="t" anchorCtr="0">
            <a:spAutoFit/>
          </a:bodyPr>
          <a:lstStyle/>
          <a:p>
            <a:pPr algn="ctr"/>
            <a:r>
              <a:rPr lang="en-US" sz="1400" b="1">
                <a:solidFill>
                  <a:srgbClr val="C00000"/>
                </a:solidFill>
                <a:latin typeface="Verdana"/>
                <a:ea typeface="Verdana"/>
              </a:rPr>
              <a:t>European context</a:t>
            </a:r>
            <a:endParaRPr lang="tr-TR">
              <a:solidFill>
                <a:srgbClr val="C00000"/>
              </a:solidFill>
              <a:ea typeface="Verdana"/>
            </a:endParaRPr>
          </a:p>
        </p:txBody>
      </p:sp>
      <p:sp>
        <p:nvSpPr>
          <p:cNvPr id="19" name="TextBox 22">
            <a:extLst>
              <a:ext uri="{FF2B5EF4-FFF2-40B4-BE49-F238E27FC236}">
                <a16:creationId xmlns:a16="http://schemas.microsoft.com/office/drawing/2014/main" id="{3319F40D-68D5-0B9C-4FAD-33B6004929DB}"/>
              </a:ext>
            </a:extLst>
          </p:cNvPr>
          <p:cNvSpPr txBox="1"/>
          <p:nvPr/>
        </p:nvSpPr>
        <p:spPr>
          <a:xfrm>
            <a:off x="7548283" y="1123641"/>
            <a:ext cx="2008432" cy="307777"/>
          </a:xfrm>
          <a:prstGeom prst="rect">
            <a:avLst/>
          </a:prstGeom>
          <a:noFill/>
        </p:spPr>
        <p:txBody>
          <a:bodyPr wrap="square" lIns="0" tIns="45720" rIns="91440" bIns="45720" rtlCol="0" anchor="t" anchorCtr="0">
            <a:spAutoFit/>
          </a:bodyPr>
          <a:lstStyle/>
          <a:p>
            <a:pPr algn="ctr"/>
            <a:r>
              <a:rPr lang="en-US" sz="1400" b="1">
                <a:solidFill>
                  <a:srgbClr val="C00000"/>
                </a:solidFill>
                <a:latin typeface="Verdana"/>
                <a:ea typeface="Verdana"/>
              </a:rPr>
              <a:t>COVID-19</a:t>
            </a:r>
            <a:endParaRPr lang="tr-TR">
              <a:solidFill>
                <a:srgbClr val="C00000"/>
              </a:solidFill>
            </a:endParaRPr>
          </a:p>
        </p:txBody>
      </p:sp>
      <p:sp>
        <p:nvSpPr>
          <p:cNvPr id="20" name="TextBox 22">
            <a:extLst>
              <a:ext uri="{FF2B5EF4-FFF2-40B4-BE49-F238E27FC236}">
                <a16:creationId xmlns:a16="http://schemas.microsoft.com/office/drawing/2014/main" id="{B1758A2B-3FB1-E0CA-1547-9A81FC8D6816}"/>
              </a:ext>
            </a:extLst>
          </p:cNvPr>
          <p:cNvSpPr txBox="1"/>
          <p:nvPr/>
        </p:nvSpPr>
        <p:spPr>
          <a:xfrm>
            <a:off x="9870141" y="1117740"/>
            <a:ext cx="2008432" cy="307777"/>
          </a:xfrm>
          <a:prstGeom prst="rect">
            <a:avLst/>
          </a:prstGeom>
          <a:noFill/>
        </p:spPr>
        <p:txBody>
          <a:bodyPr wrap="square" lIns="0" tIns="45720" rIns="91440" bIns="45720" rtlCol="0" anchor="t" anchorCtr="0">
            <a:spAutoFit/>
          </a:bodyPr>
          <a:lstStyle/>
          <a:p>
            <a:pPr algn="ctr"/>
            <a:r>
              <a:rPr lang="en-US" sz="1400" b="1">
                <a:solidFill>
                  <a:srgbClr val="C00000"/>
                </a:solidFill>
                <a:latin typeface="Verdana"/>
                <a:ea typeface="Verdana"/>
              </a:rPr>
              <a:t>Ukraine War</a:t>
            </a:r>
            <a:endParaRPr lang="tr-TR">
              <a:solidFill>
                <a:srgbClr val="C00000"/>
              </a:solidFill>
            </a:endParaRPr>
          </a:p>
        </p:txBody>
      </p:sp>
      <p:sp>
        <p:nvSpPr>
          <p:cNvPr id="21" name="TextBox 25">
            <a:extLst>
              <a:ext uri="{FF2B5EF4-FFF2-40B4-BE49-F238E27FC236}">
                <a16:creationId xmlns:a16="http://schemas.microsoft.com/office/drawing/2014/main" id="{447258FF-E30D-F05C-126F-6B386D1257D4}"/>
              </a:ext>
            </a:extLst>
          </p:cNvPr>
          <p:cNvSpPr txBox="1"/>
          <p:nvPr/>
        </p:nvSpPr>
        <p:spPr>
          <a:xfrm>
            <a:off x="383142" y="1829284"/>
            <a:ext cx="2102427" cy="4481083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defTabSz="228600">
              <a:spcAft>
                <a:spcPts val="1200"/>
              </a:spcAft>
            </a:pPr>
            <a:r>
              <a:rPr lang="en-GB" sz="1400" b="1">
                <a:latin typeface="Verdana"/>
                <a:ea typeface="Verdana"/>
                <a:cs typeface="Verdana" panose="020B0604030504040204" pitchFamily="34" charset="0"/>
              </a:rPr>
              <a:t>GDP:</a:t>
            </a:r>
            <a:r>
              <a:rPr lang="en-GB" sz="1400">
                <a:latin typeface="Verdana"/>
                <a:ea typeface="Verdana"/>
                <a:cs typeface="Verdana" panose="020B0604030504040204" pitchFamily="34" charset="0"/>
              </a:rPr>
              <a:t> </a:t>
            </a:r>
            <a:r>
              <a:rPr lang="en-GB" sz="1200">
                <a:latin typeface="Verdana"/>
                <a:ea typeface="Verdana"/>
                <a:cs typeface="Verdana" panose="020B0604030504040204" pitchFamily="34" charset="0"/>
              </a:rPr>
              <a:t>50.6% </a:t>
            </a:r>
            <a:r>
              <a:rPr lang="en-GB" sz="1400">
                <a:latin typeface="Verdana"/>
                <a:ea typeface="Verdana"/>
                <a:cs typeface="Verdana" panose="020B0604030504040204" pitchFamily="34" charset="0"/>
              </a:rPr>
              <a:t>consumption, </a:t>
            </a:r>
            <a:r>
              <a:rPr lang="en-GB" sz="1200">
                <a:latin typeface="Verdana"/>
                <a:ea typeface="Verdana"/>
                <a:cs typeface="Verdana" panose="020B0604030504040204" pitchFamily="34" charset="0"/>
              </a:rPr>
              <a:t>23.7%</a:t>
            </a:r>
            <a:r>
              <a:rPr lang="en-GB" sz="1400">
                <a:latin typeface="Verdana"/>
                <a:ea typeface="Verdana"/>
                <a:cs typeface="Verdana" panose="020B0604030504040204" pitchFamily="34" charset="0"/>
              </a:rPr>
              <a:t> government spending. </a:t>
            </a:r>
            <a:r>
              <a:rPr lang="en-GB" sz="1200">
                <a:latin typeface="Verdana"/>
                <a:ea typeface="Verdana"/>
                <a:cs typeface="Verdana" panose="020B0604030504040204" pitchFamily="34" charset="0"/>
              </a:rPr>
              <a:t>68.3%</a:t>
            </a:r>
            <a:r>
              <a:rPr lang="en-GB" sz="1400">
                <a:latin typeface="Verdana"/>
                <a:ea typeface="Verdana"/>
                <a:cs typeface="Verdana" panose="020B0604030504040204" pitchFamily="34" charset="0"/>
              </a:rPr>
              <a:t> service, </a:t>
            </a:r>
            <a:r>
              <a:rPr lang="en-GB" sz="1200">
                <a:latin typeface="Verdana"/>
                <a:ea typeface="Verdana"/>
                <a:cs typeface="Verdana" panose="020B0604030504040204" pitchFamily="34" charset="0"/>
              </a:rPr>
              <a:t>20.7%</a:t>
            </a:r>
            <a:r>
              <a:rPr lang="en-GB" sz="1400">
                <a:latin typeface="Verdana"/>
                <a:ea typeface="Verdana"/>
                <a:cs typeface="Verdana" panose="020B0604030504040204" pitchFamily="34" charset="0"/>
              </a:rPr>
              <a:t> industry.</a:t>
            </a:r>
            <a:endParaRPr lang="en-GB" sz="140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defTabSz="228600">
              <a:spcAft>
                <a:spcPts val="1200"/>
              </a:spcAft>
            </a:pPr>
            <a:r>
              <a:rPr lang="en-GB" sz="1400" b="1">
                <a:latin typeface="Verdana"/>
                <a:ea typeface="Verdana"/>
                <a:cs typeface="Verdana" panose="020B0604030504040204" pitchFamily="34" charset="0"/>
              </a:rPr>
              <a:t>Unemployment:</a:t>
            </a:r>
            <a:r>
              <a:rPr lang="en-GB" sz="1400">
                <a:latin typeface="Verdana"/>
                <a:ea typeface="Verdana"/>
                <a:cs typeface="Verdana" panose="020B0604030504040204" pitchFamily="34" charset="0"/>
              </a:rPr>
              <a:t> </a:t>
            </a:r>
            <a:r>
              <a:rPr lang="en-GB" sz="1200">
                <a:latin typeface="Verdana"/>
                <a:ea typeface="Verdana"/>
                <a:cs typeface="Verdana" panose="020B0604030504040204" pitchFamily="34" charset="0"/>
              </a:rPr>
              <a:t>5.6%, </a:t>
            </a:r>
            <a:r>
              <a:rPr lang="en-GB" sz="1400">
                <a:latin typeface="Verdana"/>
                <a:ea typeface="Verdana"/>
                <a:cs typeface="Verdana" panose="020B0604030504040204" pitchFamily="34" charset="0"/>
              </a:rPr>
              <a:t>between lowest and highest points</a:t>
            </a:r>
            <a:endParaRPr lang="en-GB" sz="140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defTabSz="228600">
              <a:spcAft>
                <a:spcPts val="1200"/>
              </a:spcAft>
            </a:pPr>
            <a:r>
              <a:rPr lang="en-GB" sz="1400" b="1">
                <a:latin typeface="Verdana"/>
                <a:ea typeface="Verdana"/>
                <a:cs typeface="Verdana" panose="020B0604030504040204" pitchFamily="34" charset="0"/>
              </a:rPr>
              <a:t>Debt % GDP:</a:t>
            </a:r>
            <a:r>
              <a:rPr lang="en-GB" sz="1400">
                <a:latin typeface="Verdana"/>
                <a:ea typeface="Verdana"/>
                <a:cs typeface="Verdana" panose="020B0604030504040204" pitchFamily="34" charset="0"/>
              </a:rPr>
              <a:t> </a:t>
            </a:r>
            <a:r>
              <a:rPr lang="en-GB" sz="1200">
                <a:latin typeface="Verdana"/>
                <a:ea typeface="Verdana"/>
                <a:cs typeface="Verdana" panose="020B0604030504040204" pitchFamily="34" charset="0"/>
              </a:rPr>
              <a:t>106%</a:t>
            </a:r>
            <a:r>
              <a:rPr lang="en-GB" sz="1400">
                <a:latin typeface="Verdana"/>
                <a:ea typeface="Verdana"/>
                <a:cs typeface="Verdana" panose="020B0604030504040204" pitchFamily="34" charset="0"/>
              </a:rPr>
              <a:t>, fiscal concerns</a:t>
            </a:r>
            <a:endParaRPr lang="en-GB" sz="140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defTabSz="228600">
              <a:spcAft>
                <a:spcPts val="1200"/>
              </a:spcAft>
            </a:pPr>
            <a:r>
              <a:rPr lang="en-GB" sz="1400" b="1">
                <a:latin typeface="Verdana"/>
                <a:ea typeface="Verdana"/>
                <a:cs typeface="Verdana" panose="020B0604030504040204" pitchFamily="34" charset="0"/>
              </a:rPr>
              <a:t>Inflation:</a:t>
            </a:r>
            <a:r>
              <a:rPr lang="en-GB" sz="1400">
                <a:latin typeface="Verdana"/>
                <a:ea typeface="Verdana"/>
                <a:cs typeface="Verdana" panose="020B0604030504040204" pitchFamily="34" charset="0"/>
              </a:rPr>
              <a:t> Increased to </a:t>
            </a:r>
            <a:r>
              <a:rPr lang="en-GB" sz="1200">
                <a:latin typeface="Verdana"/>
                <a:ea typeface="Verdana"/>
                <a:cs typeface="Verdana" panose="020B0604030504040204" pitchFamily="34" charset="0"/>
              </a:rPr>
              <a:t>9.6%</a:t>
            </a:r>
            <a:endParaRPr lang="en-GB" sz="120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285750" indent="-285750" defTabSz="228600">
              <a:spcAft>
                <a:spcPts val="1200"/>
              </a:spcAft>
              <a:buFont typeface="Arial"/>
              <a:buChar char="•"/>
            </a:pPr>
            <a:endParaRPr lang="en-GB" sz="140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defTabSz="228600">
              <a:spcAft>
                <a:spcPts val="1200"/>
              </a:spcAft>
            </a:pPr>
            <a:endParaRPr lang="en-GB" sz="1400" b="1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2" name="TextBox 25">
            <a:extLst>
              <a:ext uri="{FF2B5EF4-FFF2-40B4-BE49-F238E27FC236}">
                <a16:creationId xmlns:a16="http://schemas.microsoft.com/office/drawing/2014/main" id="{BEBBFFAC-0E73-69FD-EDC7-DAC9FCDCADEC}"/>
              </a:ext>
            </a:extLst>
          </p:cNvPr>
          <p:cNvSpPr txBox="1"/>
          <p:nvPr/>
        </p:nvSpPr>
        <p:spPr>
          <a:xfrm>
            <a:off x="2715106" y="1828288"/>
            <a:ext cx="2329165" cy="4328683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defTabSz="228600">
              <a:spcAft>
                <a:spcPts val="1200"/>
              </a:spcAft>
            </a:pPr>
            <a:r>
              <a:rPr lang="en-GB" sz="1400" b="1">
                <a:latin typeface="Verdana"/>
                <a:ea typeface="Verdana"/>
                <a:cs typeface="Verdana" panose="020B0604030504040204" pitchFamily="34" charset="0"/>
              </a:rPr>
              <a:t>GDP:</a:t>
            </a:r>
            <a:r>
              <a:rPr lang="en-GB" sz="1400">
                <a:latin typeface="Verdana"/>
                <a:ea typeface="Verdana"/>
                <a:cs typeface="Verdana" panose="020B0604030504040204" pitchFamily="34" charset="0"/>
              </a:rPr>
              <a:t> regular ascent, real GDP increase </a:t>
            </a:r>
            <a:r>
              <a:rPr lang="en-GB" sz="1200">
                <a:latin typeface="Verdana"/>
                <a:ea typeface="Verdana"/>
                <a:cs typeface="Verdana" panose="020B0604030504040204" pitchFamily="34" charset="0"/>
              </a:rPr>
              <a:t>15.7%</a:t>
            </a:r>
            <a:r>
              <a:rPr lang="en-GB" sz="1400">
                <a:latin typeface="Verdana"/>
                <a:ea typeface="Verdana"/>
                <a:cs typeface="Verdana" panose="020B0604030504040204" pitchFamily="34" charset="0"/>
              </a:rPr>
              <a:t>, nominal GDP increase </a:t>
            </a:r>
            <a:r>
              <a:rPr lang="en-GB" sz="1200">
                <a:latin typeface="Verdana"/>
                <a:ea typeface="Verdana"/>
                <a:cs typeface="Verdana" panose="020B0604030504040204" pitchFamily="34" charset="0"/>
              </a:rPr>
              <a:t>41%.  </a:t>
            </a:r>
            <a:r>
              <a:rPr lang="en-GB" sz="1400">
                <a:latin typeface="Verdana"/>
                <a:ea typeface="Verdana"/>
                <a:cs typeface="Verdana" panose="020B0604030504040204" pitchFamily="34" charset="0"/>
              </a:rPr>
              <a:t>averagely, </a:t>
            </a:r>
            <a:r>
              <a:rPr lang="en-GB" sz="1200">
                <a:latin typeface="Verdana"/>
                <a:ea typeface="Verdana"/>
                <a:cs typeface="Verdana" panose="020B0604030504040204" pitchFamily="34" charset="0"/>
              </a:rPr>
              <a:t>69.1%</a:t>
            </a:r>
            <a:r>
              <a:rPr lang="en-GB" sz="1400">
                <a:latin typeface="Verdana"/>
                <a:ea typeface="Verdana"/>
                <a:cs typeface="Verdana" panose="020B0604030504040204" pitchFamily="34" charset="0"/>
              </a:rPr>
              <a:t> service. </a:t>
            </a:r>
            <a:endParaRPr lang="en-GB" sz="140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defTabSz="228600">
              <a:spcAft>
                <a:spcPts val="1200"/>
              </a:spcAft>
            </a:pPr>
            <a:r>
              <a:rPr lang="en-GB" sz="1400" b="1">
                <a:latin typeface="Verdana"/>
                <a:ea typeface="Verdana"/>
                <a:cs typeface="Verdana" panose="020B0604030504040204" pitchFamily="34" charset="0"/>
              </a:rPr>
              <a:t>Unemployment: </a:t>
            </a:r>
            <a:r>
              <a:rPr lang="en-GB" sz="1400">
                <a:latin typeface="Verdana"/>
                <a:ea typeface="Verdana"/>
                <a:cs typeface="Verdana" panose="020B0604030504040204" pitchFamily="34" charset="0"/>
              </a:rPr>
              <a:t>record low in April 2020, </a:t>
            </a:r>
            <a:r>
              <a:rPr lang="en-GB" sz="1200">
                <a:latin typeface="Verdana"/>
                <a:ea typeface="Verdana"/>
                <a:cs typeface="Verdana" panose="020B0604030504040204" pitchFamily="34" charset="0"/>
              </a:rPr>
              <a:t>4.9%</a:t>
            </a:r>
            <a:endParaRPr lang="en-GB" sz="120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defTabSz="228600">
              <a:spcAft>
                <a:spcPts val="1200"/>
              </a:spcAft>
            </a:pPr>
            <a:r>
              <a:rPr lang="en-GB" sz="1400" b="1">
                <a:latin typeface="Verdana"/>
                <a:ea typeface="Verdana"/>
                <a:cs typeface="Verdana" panose="020B0604030504040204" pitchFamily="34" charset="0"/>
              </a:rPr>
              <a:t>Debt % GDP:</a:t>
            </a:r>
            <a:r>
              <a:rPr lang="en-GB" sz="1400">
                <a:latin typeface="Verdana"/>
                <a:ea typeface="Verdana"/>
                <a:cs typeface="Verdana" panose="020B0604030504040204" pitchFamily="34" charset="0"/>
              </a:rPr>
              <a:t> downward trend disrupted by Covid-19 and Ukraine War.   </a:t>
            </a:r>
            <a:endParaRPr lang="en-GB" sz="140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defTabSz="228600">
              <a:spcAft>
                <a:spcPts val="1200"/>
              </a:spcAft>
            </a:pPr>
            <a:r>
              <a:rPr lang="en-GB" sz="1400" b="1">
                <a:latin typeface="Verdana"/>
                <a:ea typeface="Verdana"/>
                <a:cs typeface="Verdana" panose="020B0604030504040204" pitchFamily="34" charset="0"/>
              </a:rPr>
              <a:t>Inflation:</a:t>
            </a:r>
            <a:r>
              <a:rPr lang="en-GB" sz="1400">
                <a:latin typeface="Verdana"/>
                <a:ea typeface="Verdana"/>
                <a:cs typeface="Verdana" panose="020B0604030504040204" pitchFamily="34" charset="0"/>
              </a:rPr>
              <a:t> decrease until 2021, followed by sharp increase</a:t>
            </a:r>
            <a:endParaRPr lang="en-GB" sz="140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285750" indent="-285750" defTabSz="228600">
              <a:spcAft>
                <a:spcPts val="1200"/>
              </a:spcAft>
              <a:buFont typeface="Arial"/>
              <a:buChar char="•"/>
            </a:pPr>
            <a:endParaRPr lang="en-GB" sz="140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defTabSz="228600">
              <a:spcAft>
                <a:spcPts val="1200"/>
              </a:spcAft>
            </a:pPr>
            <a:endParaRPr lang="en-GB" sz="1400" b="1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3" name="TextBox 25">
            <a:extLst>
              <a:ext uri="{FF2B5EF4-FFF2-40B4-BE49-F238E27FC236}">
                <a16:creationId xmlns:a16="http://schemas.microsoft.com/office/drawing/2014/main" id="{900CB083-0130-B6E6-991D-2660B5D25583}"/>
              </a:ext>
            </a:extLst>
          </p:cNvPr>
          <p:cNvSpPr txBox="1"/>
          <p:nvPr/>
        </p:nvSpPr>
        <p:spPr>
          <a:xfrm>
            <a:off x="5172112" y="1838809"/>
            <a:ext cx="2221934" cy="4328683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defTabSz="228600">
              <a:spcAft>
                <a:spcPts val="1200"/>
              </a:spcAft>
            </a:pPr>
            <a:r>
              <a:rPr lang="en-GB" sz="1400" b="1">
                <a:latin typeface="Verdana"/>
                <a:ea typeface="Verdana"/>
                <a:cs typeface="Verdana" panose="020B0604030504040204" pitchFamily="34" charset="0"/>
              </a:rPr>
              <a:t>Unemployment: </a:t>
            </a:r>
            <a:r>
              <a:rPr lang="en-GB" sz="1400">
                <a:latin typeface="Verdana"/>
                <a:ea typeface="Verdana"/>
                <a:cs typeface="Verdana" panose="020B0604030504040204" pitchFamily="34" charset="0"/>
              </a:rPr>
              <a:t>same trends, wages indexed to inflation might cause issues</a:t>
            </a:r>
            <a:endParaRPr lang="en-GB" sz="1400" b="1">
              <a:latin typeface="Verdana"/>
              <a:ea typeface="Verdana"/>
              <a:cs typeface="Verdana" panose="020B0604030504040204" pitchFamily="34" charset="0"/>
            </a:endParaRPr>
          </a:p>
          <a:p>
            <a:pPr defTabSz="228600">
              <a:spcAft>
                <a:spcPts val="1200"/>
              </a:spcAft>
            </a:pPr>
            <a:r>
              <a:rPr lang="en-GB" sz="1400" b="1">
                <a:latin typeface="Verdana"/>
                <a:ea typeface="Verdana"/>
                <a:cs typeface="Verdana" panose="020B0604030504040204" pitchFamily="34" charset="0"/>
              </a:rPr>
              <a:t>Debt % GDP: </a:t>
            </a:r>
            <a:r>
              <a:rPr lang="en-GB" sz="1400">
                <a:latin typeface="Verdana"/>
                <a:ea typeface="Verdana"/>
                <a:cs typeface="Verdana" panose="020B0604030504040204" pitchFamily="34" charset="0"/>
              </a:rPr>
              <a:t>higher compared to others</a:t>
            </a:r>
            <a:endParaRPr lang="en-GB" sz="140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defTabSz="228600">
              <a:spcAft>
                <a:spcPts val="1200"/>
              </a:spcAft>
            </a:pPr>
            <a:r>
              <a:rPr lang="en-GB" sz="1400" b="1">
                <a:latin typeface="Verdana"/>
                <a:ea typeface="Verdana"/>
                <a:cs typeface="Verdana" panose="020B0604030504040204" pitchFamily="34" charset="0"/>
              </a:rPr>
              <a:t>Inflation:</a:t>
            </a:r>
            <a:r>
              <a:rPr lang="en-GB" sz="1400">
                <a:latin typeface="Verdana"/>
                <a:ea typeface="Verdana"/>
                <a:cs typeface="Verdana" panose="020B0604030504040204" pitchFamily="34" charset="0"/>
              </a:rPr>
              <a:t> similar trends, average </a:t>
            </a:r>
            <a:r>
              <a:rPr lang="en-GB" sz="1200">
                <a:latin typeface="Verdana"/>
                <a:ea typeface="Verdana"/>
                <a:cs typeface="Verdana" panose="020B0604030504040204" pitchFamily="34" charset="0"/>
              </a:rPr>
              <a:t>2.6%</a:t>
            </a:r>
            <a:r>
              <a:rPr lang="en-GB" sz="1400">
                <a:latin typeface="Verdana"/>
                <a:ea typeface="Verdana"/>
                <a:cs typeface="Verdana" panose="020B0604030504040204" pitchFamily="34" charset="0"/>
              </a:rPr>
              <a:t> in Belgium, </a:t>
            </a:r>
            <a:r>
              <a:rPr lang="en-GB" sz="1200">
                <a:latin typeface="Verdana"/>
                <a:ea typeface="Verdana"/>
                <a:cs typeface="Verdana" panose="020B0604030504040204" pitchFamily="34" charset="0"/>
              </a:rPr>
              <a:t>2% </a:t>
            </a:r>
            <a:r>
              <a:rPr lang="en-GB" sz="1400">
                <a:latin typeface="Verdana"/>
                <a:ea typeface="Verdana"/>
                <a:cs typeface="Verdana" panose="020B0604030504040204" pitchFamily="34" charset="0"/>
              </a:rPr>
              <a:t>in Eurozone</a:t>
            </a:r>
            <a:endParaRPr lang="en-GB" sz="140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285750" indent="-285750" defTabSz="228600">
              <a:spcAft>
                <a:spcPts val="1200"/>
              </a:spcAft>
              <a:buFont typeface="Arial"/>
              <a:buChar char="•"/>
            </a:pPr>
            <a:endParaRPr lang="en-GB" sz="140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defTabSz="228600">
              <a:spcAft>
                <a:spcPts val="1200"/>
              </a:spcAft>
            </a:pPr>
            <a:endParaRPr lang="en-GB" sz="1400" b="1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cxnSp>
        <p:nvCxnSpPr>
          <p:cNvPr id="27" name="Straight Connector 9">
            <a:extLst>
              <a:ext uri="{FF2B5EF4-FFF2-40B4-BE49-F238E27FC236}">
                <a16:creationId xmlns:a16="http://schemas.microsoft.com/office/drawing/2014/main" id="{09DAFFED-8D51-2783-B642-5AF5805B2FF8}"/>
              </a:ext>
            </a:extLst>
          </p:cNvPr>
          <p:cNvCxnSpPr>
            <a:cxnSpLocks/>
          </p:cNvCxnSpPr>
          <p:nvPr/>
        </p:nvCxnSpPr>
        <p:spPr>
          <a:xfrm flipV="1">
            <a:off x="2885323" y="1545747"/>
            <a:ext cx="2009112" cy="10582"/>
          </a:xfrm>
          <a:prstGeom prst="line">
            <a:avLst/>
          </a:prstGeom>
          <a:ln w="9525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9">
            <a:extLst>
              <a:ext uri="{FF2B5EF4-FFF2-40B4-BE49-F238E27FC236}">
                <a16:creationId xmlns:a16="http://schemas.microsoft.com/office/drawing/2014/main" id="{415505F6-9E5F-2AAB-61B7-62C40E82EF16}"/>
              </a:ext>
            </a:extLst>
          </p:cNvPr>
          <p:cNvCxnSpPr>
            <a:cxnSpLocks/>
          </p:cNvCxnSpPr>
          <p:nvPr/>
        </p:nvCxnSpPr>
        <p:spPr>
          <a:xfrm flipV="1">
            <a:off x="5223592" y="1556329"/>
            <a:ext cx="2009112" cy="10582"/>
          </a:xfrm>
          <a:prstGeom prst="line">
            <a:avLst/>
          </a:prstGeom>
          <a:ln w="9525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9">
            <a:extLst>
              <a:ext uri="{FF2B5EF4-FFF2-40B4-BE49-F238E27FC236}">
                <a16:creationId xmlns:a16="http://schemas.microsoft.com/office/drawing/2014/main" id="{F0EEB038-8951-9D7E-C9FA-AFCD1B45C0E9}"/>
              </a:ext>
            </a:extLst>
          </p:cNvPr>
          <p:cNvCxnSpPr>
            <a:cxnSpLocks/>
          </p:cNvCxnSpPr>
          <p:nvPr/>
        </p:nvCxnSpPr>
        <p:spPr>
          <a:xfrm flipV="1">
            <a:off x="7625265" y="1545747"/>
            <a:ext cx="2009112" cy="10582"/>
          </a:xfrm>
          <a:prstGeom prst="line">
            <a:avLst/>
          </a:prstGeom>
          <a:ln w="9525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9">
            <a:extLst>
              <a:ext uri="{FF2B5EF4-FFF2-40B4-BE49-F238E27FC236}">
                <a16:creationId xmlns:a16="http://schemas.microsoft.com/office/drawing/2014/main" id="{C3306D69-38B2-1C08-9474-5EBC284BE2DC}"/>
              </a:ext>
            </a:extLst>
          </p:cNvPr>
          <p:cNvCxnSpPr>
            <a:cxnSpLocks/>
          </p:cNvCxnSpPr>
          <p:nvPr/>
        </p:nvCxnSpPr>
        <p:spPr>
          <a:xfrm flipV="1">
            <a:off x="9947620" y="1545747"/>
            <a:ext cx="2009112" cy="10582"/>
          </a:xfrm>
          <a:prstGeom prst="line">
            <a:avLst/>
          </a:prstGeom>
          <a:ln w="9525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TextBox 25">
            <a:extLst>
              <a:ext uri="{FF2B5EF4-FFF2-40B4-BE49-F238E27FC236}">
                <a16:creationId xmlns:a16="http://schemas.microsoft.com/office/drawing/2014/main" id="{309491EB-B570-BF3A-4835-F62FBB88D541}"/>
              </a:ext>
            </a:extLst>
          </p:cNvPr>
          <p:cNvSpPr txBox="1"/>
          <p:nvPr/>
        </p:nvSpPr>
        <p:spPr>
          <a:xfrm>
            <a:off x="7569083" y="1838809"/>
            <a:ext cx="2121477" cy="4328683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defTabSz="228600">
              <a:spcAft>
                <a:spcPts val="1200"/>
              </a:spcAft>
            </a:pPr>
            <a:r>
              <a:rPr lang="en-GB" sz="1400" b="1">
                <a:latin typeface="Verdana"/>
                <a:ea typeface="Verdana"/>
                <a:cs typeface="Verdana" panose="020B0604030504040204" pitchFamily="34" charset="0"/>
              </a:rPr>
              <a:t>GDP:</a:t>
            </a:r>
            <a:r>
              <a:rPr lang="en-GB" sz="1400">
                <a:latin typeface="Verdana"/>
                <a:ea typeface="Verdana"/>
                <a:cs typeface="Verdana" panose="020B0604030504040204" pitchFamily="34" charset="0"/>
              </a:rPr>
              <a:t> growth rate       –</a:t>
            </a:r>
            <a:r>
              <a:rPr lang="en-GB" sz="1200">
                <a:latin typeface="Verdana"/>
                <a:ea typeface="Verdana"/>
                <a:cs typeface="Verdana" panose="020B0604030504040204" pitchFamily="34" charset="0"/>
              </a:rPr>
              <a:t>5.3% </a:t>
            </a:r>
            <a:r>
              <a:rPr lang="en-GB" sz="1400">
                <a:latin typeface="Verdana"/>
                <a:ea typeface="Verdana"/>
                <a:cs typeface="Verdana" panose="020B0604030504040204" pitchFamily="34" charset="0"/>
              </a:rPr>
              <a:t>due to limitations on service sector</a:t>
            </a:r>
            <a:endParaRPr lang="en-GB" sz="140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defTabSz="228600">
              <a:spcAft>
                <a:spcPts val="1200"/>
              </a:spcAft>
            </a:pPr>
            <a:r>
              <a:rPr lang="en-GB" sz="1400" b="1">
                <a:latin typeface="Verdana"/>
                <a:ea typeface="Verdana"/>
                <a:cs typeface="Verdana" panose="020B0604030504040204" pitchFamily="34" charset="0"/>
              </a:rPr>
              <a:t>Unemployment: </a:t>
            </a:r>
            <a:r>
              <a:rPr lang="en-GB" sz="1400">
                <a:latin typeface="Verdana"/>
                <a:ea typeface="Verdana"/>
                <a:cs typeface="Verdana" panose="020B0604030504040204" pitchFamily="34" charset="0"/>
              </a:rPr>
              <a:t>increased</a:t>
            </a:r>
            <a:endParaRPr lang="en-GB" sz="140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defTabSz="228600">
              <a:spcAft>
                <a:spcPts val="1200"/>
              </a:spcAft>
            </a:pPr>
            <a:r>
              <a:rPr lang="en-GB" sz="1400" b="1">
                <a:latin typeface="Verdana"/>
                <a:ea typeface="Verdana"/>
                <a:cs typeface="Verdana" panose="020B0604030504040204" pitchFamily="34" charset="0"/>
              </a:rPr>
              <a:t>Government-debt-to-ratio:</a:t>
            </a:r>
            <a:r>
              <a:rPr lang="en-GB" sz="1400">
                <a:latin typeface="Verdana"/>
                <a:ea typeface="Verdana"/>
                <a:cs typeface="Verdana" panose="020B0604030504040204" pitchFamily="34" charset="0"/>
              </a:rPr>
              <a:t> </a:t>
            </a:r>
            <a:r>
              <a:rPr lang="en-GB" sz="1200">
                <a:latin typeface="Verdana"/>
                <a:ea typeface="Verdana"/>
                <a:cs typeface="Verdana" panose="020B0604030504040204" pitchFamily="34" charset="0"/>
              </a:rPr>
              <a:t>14% </a:t>
            </a:r>
            <a:r>
              <a:rPr lang="en-GB" sz="1400">
                <a:latin typeface="Verdana"/>
                <a:ea typeface="Verdana"/>
                <a:cs typeface="Verdana" panose="020B0604030504040204" pitchFamily="34" charset="0"/>
              </a:rPr>
              <a:t>increase</a:t>
            </a:r>
            <a:endParaRPr lang="en-GB" sz="140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defTabSz="228600">
              <a:spcAft>
                <a:spcPts val="1200"/>
              </a:spcAft>
            </a:pPr>
            <a:endParaRPr lang="en-GB" sz="140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defTabSz="228600">
              <a:spcAft>
                <a:spcPts val="1200"/>
              </a:spcAft>
            </a:pPr>
            <a:endParaRPr lang="en-GB" sz="1400" b="1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36" name="Rettangolo con angoli arrotondati 35">
            <a:extLst>
              <a:ext uri="{FF2B5EF4-FFF2-40B4-BE49-F238E27FC236}">
                <a16:creationId xmlns:a16="http://schemas.microsoft.com/office/drawing/2014/main" id="{C8E1650D-F7A3-B8C1-9EC1-80C7C8B9153C}"/>
              </a:ext>
            </a:extLst>
          </p:cNvPr>
          <p:cNvSpPr/>
          <p:nvPr/>
        </p:nvSpPr>
        <p:spPr>
          <a:xfrm>
            <a:off x="7396346" y="4128062"/>
            <a:ext cx="2294214" cy="2705706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34" name="TextBox 25">
            <a:extLst>
              <a:ext uri="{FF2B5EF4-FFF2-40B4-BE49-F238E27FC236}">
                <a16:creationId xmlns:a16="http://schemas.microsoft.com/office/drawing/2014/main" id="{60FE00E7-3957-D3DA-449E-38CCFD431DA1}"/>
              </a:ext>
            </a:extLst>
          </p:cNvPr>
          <p:cNvSpPr txBox="1"/>
          <p:nvPr/>
        </p:nvSpPr>
        <p:spPr>
          <a:xfrm>
            <a:off x="10058121" y="1813776"/>
            <a:ext cx="1930977" cy="4328683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defTabSz="228600">
              <a:spcAft>
                <a:spcPts val="1200"/>
              </a:spcAft>
            </a:pPr>
            <a:r>
              <a:rPr lang="en-GB" sz="1400" b="1">
                <a:latin typeface="Verdana"/>
                <a:ea typeface="Verdana"/>
                <a:cs typeface="Verdana" panose="020B0604030504040204" pitchFamily="34" charset="0"/>
              </a:rPr>
              <a:t>Energy Crisis: </a:t>
            </a:r>
            <a:r>
              <a:rPr lang="en-GB" sz="1400">
                <a:latin typeface="Verdana"/>
                <a:ea typeface="Verdana"/>
                <a:cs typeface="Verdana" panose="020B0604030504040204" pitchFamily="34" charset="0"/>
              </a:rPr>
              <a:t>major supply cut, Belgium prepared</a:t>
            </a:r>
            <a:endParaRPr lang="en-GB" sz="140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defTabSz="228600">
              <a:spcAft>
                <a:spcPts val="1200"/>
              </a:spcAft>
            </a:pPr>
            <a:r>
              <a:rPr lang="en-GB" sz="1400" b="1">
                <a:latin typeface="Verdana"/>
                <a:ea typeface="Verdana"/>
                <a:cs typeface="Verdana" panose="020B0604030504040204" pitchFamily="34" charset="0"/>
              </a:rPr>
              <a:t>GDP: </a:t>
            </a:r>
            <a:r>
              <a:rPr lang="en-GB" sz="1400">
                <a:latin typeface="Verdana"/>
                <a:ea typeface="Verdana"/>
                <a:cs typeface="Verdana" panose="020B0604030504040204" pitchFamily="34" charset="0"/>
              </a:rPr>
              <a:t>decrease by </a:t>
            </a:r>
            <a:r>
              <a:rPr lang="en-GB" sz="1200">
                <a:latin typeface="Verdana"/>
                <a:ea typeface="Verdana"/>
                <a:cs typeface="Verdana" panose="020B0604030504040204" pitchFamily="34" charset="0"/>
              </a:rPr>
              <a:t>6.7%, </a:t>
            </a:r>
            <a:r>
              <a:rPr lang="en-GB" sz="1400">
                <a:latin typeface="Verdana"/>
                <a:ea typeface="Verdana"/>
                <a:cs typeface="Verdana" panose="020B0604030504040204" pitchFamily="34" charset="0"/>
              </a:rPr>
              <a:t>positive output gap</a:t>
            </a:r>
          </a:p>
          <a:p>
            <a:pPr defTabSz="228600">
              <a:spcAft>
                <a:spcPts val="1200"/>
              </a:spcAft>
            </a:pPr>
            <a:r>
              <a:rPr lang="en-GB" sz="1400" b="1">
                <a:latin typeface="Verdana"/>
                <a:ea typeface="Verdana"/>
                <a:cs typeface="Verdana" panose="020B0604030504040204" pitchFamily="34" charset="0"/>
              </a:rPr>
              <a:t>Unemployment:</a:t>
            </a:r>
            <a:r>
              <a:rPr lang="en-GB" sz="1400">
                <a:latin typeface="Verdana"/>
                <a:ea typeface="Verdana"/>
                <a:cs typeface="Verdana" panose="020B0604030504040204" pitchFamily="34" charset="0"/>
              </a:rPr>
              <a:t> increased, real wage in Europe decreased</a:t>
            </a:r>
            <a:endParaRPr lang="en-GB" sz="140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285750" indent="-285750" defTabSz="228600">
              <a:spcAft>
                <a:spcPts val="1200"/>
              </a:spcAft>
              <a:buFont typeface="Arial"/>
              <a:buChar char="•"/>
            </a:pPr>
            <a:endParaRPr lang="en-GB" sz="140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defTabSz="228600">
              <a:spcAft>
                <a:spcPts val="1200"/>
              </a:spcAft>
            </a:pPr>
            <a:endParaRPr lang="en-GB" sz="1400" b="1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37" name="Rettangolo con angoli arrotondati 36">
            <a:extLst>
              <a:ext uri="{FF2B5EF4-FFF2-40B4-BE49-F238E27FC236}">
                <a16:creationId xmlns:a16="http://schemas.microsoft.com/office/drawing/2014/main" id="{C80BA881-2334-979B-C5BC-88075BAE6579}"/>
              </a:ext>
            </a:extLst>
          </p:cNvPr>
          <p:cNvSpPr/>
          <p:nvPr/>
        </p:nvSpPr>
        <p:spPr>
          <a:xfrm>
            <a:off x="9836568" y="4141711"/>
            <a:ext cx="2294214" cy="2716289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pic>
        <p:nvPicPr>
          <p:cNvPr id="2" name="Immagine 1" descr="Immagine che contiene linea, diagramma, Parallelo, Diagramma&#10;&#10;Descrizione generata automaticamente">
            <a:extLst>
              <a:ext uri="{FF2B5EF4-FFF2-40B4-BE49-F238E27FC236}">
                <a16:creationId xmlns:a16="http://schemas.microsoft.com/office/drawing/2014/main" id="{2CB98937-7321-1D35-603D-D663104786A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394046" y="4420659"/>
            <a:ext cx="2251075" cy="2218266"/>
          </a:xfrm>
          <a:prstGeom prst="rect">
            <a:avLst/>
          </a:prstGeom>
        </p:spPr>
      </p:pic>
      <p:pic>
        <p:nvPicPr>
          <p:cNvPr id="3" name="Immagine 2" descr="Immagine che contiene linea, diagramma, Parallelo, Diagramma&#10;&#10;Descrizione generata automaticamente">
            <a:extLst>
              <a:ext uri="{FF2B5EF4-FFF2-40B4-BE49-F238E27FC236}">
                <a16:creationId xmlns:a16="http://schemas.microsoft.com/office/drawing/2014/main" id="{24544960-2A6D-34A0-6E11-A676D68CED1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866313" y="4422246"/>
            <a:ext cx="2248959" cy="2193925"/>
          </a:xfrm>
          <a:prstGeom prst="rect">
            <a:avLst/>
          </a:prstGeom>
        </p:spPr>
      </p:pic>
      <p:sp>
        <p:nvSpPr>
          <p:cNvPr id="38" name="CasellaDiTesto 37">
            <a:extLst>
              <a:ext uri="{FF2B5EF4-FFF2-40B4-BE49-F238E27FC236}">
                <a16:creationId xmlns:a16="http://schemas.microsoft.com/office/drawing/2014/main" id="{1B55834D-14D5-A6B8-1B70-F672AFCAEF67}"/>
              </a:ext>
            </a:extLst>
          </p:cNvPr>
          <p:cNvSpPr txBox="1"/>
          <p:nvPr/>
        </p:nvSpPr>
        <p:spPr>
          <a:xfrm>
            <a:off x="383142" y="266461"/>
            <a:ext cx="1027313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3600" b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1. </a:t>
            </a:r>
            <a:r>
              <a:rPr lang="it-IT" sz="3600" b="1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conomic</a:t>
            </a:r>
            <a:r>
              <a:rPr lang="it-IT" sz="3600" b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Situation</a:t>
            </a:r>
          </a:p>
        </p:txBody>
      </p:sp>
    </p:spTree>
    <p:extLst>
      <p:ext uri="{BB962C8B-B14F-4D97-AF65-F5344CB8AC3E}">
        <p14:creationId xmlns:p14="http://schemas.microsoft.com/office/powerpoint/2010/main" val="2753883895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30">
            <a:extLst>
              <a:ext uri="{FF2B5EF4-FFF2-40B4-BE49-F238E27FC236}">
                <a16:creationId xmlns:a16="http://schemas.microsoft.com/office/drawing/2014/main" id="{381DD666-CEE8-C939-D051-2F9C37569DD0}"/>
              </a:ext>
            </a:extLst>
          </p:cNvPr>
          <p:cNvSpPr/>
          <p:nvPr/>
        </p:nvSpPr>
        <p:spPr>
          <a:xfrm>
            <a:off x="401058" y="3641249"/>
            <a:ext cx="11437686" cy="1880331"/>
          </a:xfrm>
          <a:prstGeom prst="rect">
            <a:avLst/>
          </a:prstGeom>
          <a:solidFill>
            <a:srgbClr val="FCE7C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4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AE1223F7-7C5B-F6BD-564B-9EF2661E970A}"/>
              </a:ext>
            </a:extLst>
          </p:cNvPr>
          <p:cNvSpPr/>
          <p:nvPr/>
        </p:nvSpPr>
        <p:spPr>
          <a:xfrm>
            <a:off x="406198" y="1660551"/>
            <a:ext cx="5661923" cy="1880331"/>
          </a:xfrm>
          <a:prstGeom prst="rect">
            <a:avLst/>
          </a:prstGeom>
          <a:solidFill>
            <a:srgbClr val="FCE7C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4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BA896EF5-3DA1-FDA3-349B-8E3086E63D9F}"/>
              </a:ext>
            </a:extLst>
          </p:cNvPr>
          <p:cNvSpPr/>
          <p:nvPr/>
        </p:nvSpPr>
        <p:spPr>
          <a:xfrm>
            <a:off x="6204165" y="1660551"/>
            <a:ext cx="5661923" cy="1880331"/>
          </a:xfrm>
          <a:prstGeom prst="rect">
            <a:avLst/>
          </a:prstGeom>
          <a:solidFill>
            <a:srgbClr val="FCE7C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4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pic>
        <p:nvPicPr>
          <p:cNvPr id="14" name="Graphic 13" descr="Target outline">
            <a:extLst>
              <a:ext uri="{FF2B5EF4-FFF2-40B4-BE49-F238E27FC236}">
                <a16:creationId xmlns:a16="http://schemas.microsoft.com/office/drawing/2014/main" id="{1FDB5DAD-5B9E-6693-346D-3863CD940C7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05554" y="789102"/>
            <a:ext cx="871449" cy="871449"/>
          </a:xfrm>
          <a:prstGeom prst="rect">
            <a:avLst/>
          </a:prstGeom>
        </p:spPr>
      </p:pic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D1C62205-81FC-7854-7B05-6B1965433E14}"/>
              </a:ext>
            </a:extLst>
          </p:cNvPr>
          <p:cNvCxnSpPr>
            <a:cxnSpLocks/>
          </p:cNvCxnSpPr>
          <p:nvPr/>
        </p:nvCxnSpPr>
        <p:spPr>
          <a:xfrm>
            <a:off x="6130724" y="1660551"/>
            <a:ext cx="0" cy="1880331"/>
          </a:xfrm>
          <a:prstGeom prst="line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Rectangle 17">
            <a:extLst>
              <a:ext uri="{FF2B5EF4-FFF2-40B4-BE49-F238E27FC236}">
                <a16:creationId xmlns:a16="http://schemas.microsoft.com/office/drawing/2014/main" id="{414B6868-FBBE-60A2-3F8D-589974CF94BD}"/>
              </a:ext>
            </a:extLst>
          </p:cNvPr>
          <p:cNvSpPr/>
          <p:nvPr/>
        </p:nvSpPr>
        <p:spPr>
          <a:xfrm>
            <a:off x="400781" y="3639596"/>
            <a:ext cx="3162565" cy="334043"/>
          </a:xfrm>
          <a:prstGeom prst="rect">
            <a:avLst/>
          </a:prstGeom>
          <a:solidFill>
            <a:srgbClr val="F68F0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1" i="0" u="none" strike="noStrike" kern="120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ebt</a:t>
            </a:r>
            <a:r>
              <a:rPr kumimoji="0" lang="de-DE" sz="14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kumimoji="0" lang="de-DE" sz="1400" b="1" i="0" u="none" strike="noStrike" kern="120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ratio</a:t>
            </a:r>
            <a:r>
              <a:rPr kumimoji="0" lang="de-DE" sz="14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and </a:t>
            </a:r>
            <a:r>
              <a:rPr kumimoji="0" lang="de-DE" sz="1400" b="1" i="0" u="none" strike="noStrike" kern="120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ublic</a:t>
            </a:r>
            <a:r>
              <a:rPr kumimoji="0" lang="de-DE" sz="14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kumimoji="0" lang="de-DE" sz="1400" b="1" i="0" u="none" strike="noStrike" kern="120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eficit</a:t>
            </a:r>
            <a:endParaRPr kumimoji="0" lang="de-DE" sz="14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FB3874E6-2C95-44CC-47C1-8878CF079739}"/>
              </a:ext>
            </a:extLst>
          </p:cNvPr>
          <p:cNvSpPr/>
          <p:nvPr/>
        </p:nvSpPr>
        <p:spPr>
          <a:xfrm>
            <a:off x="395360" y="1416314"/>
            <a:ext cx="2719680" cy="466612"/>
          </a:xfrm>
          <a:prstGeom prst="rect">
            <a:avLst/>
          </a:prstGeom>
          <a:solidFill>
            <a:srgbClr val="F68F0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>
              <a:defRPr/>
            </a:pPr>
            <a:r>
              <a:rPr lang="de-DE" sz="1400" b="1" err="1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ensions</a:t>
            </a:r>
            <a:r>
              <a:rPr lang="de-DE" sz="1400" b="1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and Inflation</a:t>
            </a:r>
            <a:endParaRPr kumimoji="0" lang="de-DE" sz="14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21329C66-D7A7-778C-4715-2AC935E62235}"/>
              </a:ext>
            </a:extLst>
          </p:cNvPr>
          <p:cNvSpPr/>
          <p:nvPr/>
        </p:nvSpPr>
        <p:spPr>
          <a:xfrm>
            <a:off x="9535709" y="1427245"/>
            <a:ext cx="2328668" cy="466612"/>
          </a:xfrm>
          <a:prstGeom prst="rect">
            <a:avLst/>
          </a:prstGeom>
          <a:solidFill>
            <a:srgbClr val="F68F0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limate </a:t>
            </a:r>
            <a:r>
              <a:rPr kumimoji="0" lang="de-DE" sz="1400" b="1" i="0" u="none" strike="noStrike" kern="120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hange</a:t>
            </a:r>
            <a:endParaRPr kumimoji="0" lang="de-DE" sz="14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grpSp>
        <p:nvGrpSpPr>
          <p:cNvPr id="36" name="Group 35">
            <a:extLst>
              <a:ext uri="{FF2B5EF4-FFF2-40B4-BE49-F238E27FC236}">
                <a16:creationId xmlns:a16="http://schemas.microsoft.com/office/drawing/2014/main" id="{CDC7FD6F-E5EE-23A1-F1D6-F62F60ADD83D}"/>
              </a:ext>
            </a:extLst>
          </p:cNvPr>
          <p:cNvGrpSpPr>
            <a:grpSpLocks noChangeAspect="1"/>
          </p:cNvGrpSpPr>
          <p:nvPr/>
        </p:nvGrpSpPr>
        <p:grpSpPr>
          <a:xfrm>
            <a:off x="4733169" y="4021147"/>
            <a:ext cx="791999" cy="791999"/>
            <a:chOff x="8678803" y="4699759"/>
            <a:chExt cx="1260000" cy="1260000"/>
          </a:xfrm>
        </p:grpSpPr>
        <p:sp>
          <p:nvSpPr>
            <p:cNvPr id="24" name="Oval 40">
              <a:extLst>
                <a:ext uri="{FF2B5EF4-FFF2-40B4-BE49-F238E27FC236}">
                  <a16:creationId xmlns:a16="http://schemas.microsoft.com/office/drawing/2014/main" id="{1176338D-9E54-8E30-1EED-952BFD8E58EA}"/>
                </a:ext>
              </a:extLst>
            </p:cNvPr>
            <p:cNvSpPr/>
            <p:nvPr/>
          </p:nvSpPr>
          <p:spPr>
            <a:xfrm>
              <a:off x="8775575" y="4803567"/>
              <a:ext cx="1054783" cy="1054782"/>
            </a:xfrm>
            <a:prstGeom prst="ellipse">
              <a:avLst/>
            </a:prstGeom>
            <a:solidFill>
              <a:srgbClr val="FCD6A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25" name="Oval 41">
              <a:extLst>
                <a:ext uri="{FF2B5EF4-FFF2-40B4-BE49-F238E27FC236}">
                  <a16:creationId xmlns:a16="http://schemas.microsoft.com/office/drawing/2014/main" id="{E153B634-449D-4A80-C7C3-145E3E843F64}"/>
                </a:ext>
              </a:extLst>
            </p:cNvPr>
            <p:cNvSpPr>
              <a:spLocks/>
            </p:cNvSpPr>
            <p:nvPr/>
          </p:nvSpPr>
          <p:spPr>
            <a:xfrm>
              <a:off x="8947155" y="4960089"/>
              <a:ext cx="720000" cy="720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 b="1" spc="-4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26" name="Oval 42">
              <a:extLst>
                <a:ext uri="{FF2B5EF4-FFF2-40B4-BE49-F238E27FC236}">
                  <a16:creationId xmlns:a16="http://schemas.microsoft.com/office/drawing/2014/main" id="{2B475D0C-5571-C37D-6423-107489DB94CF}"/>
                </a:ext>
              </a:extLst>
            </p:cNvPr>
            <p:cNvSpPr/>
            <p:nvPr/>
          </p:nvSpPr>
          <p:spPr>
            <a:xfrm>
              <a:off x="8678803" y="4699759"/>
              <a:ext cx="1260000" cy="1260000"/>
            </a:xfrm>
            <a:prstGeom prst="ellipse">
              <a:avLst/>
            </a:prstGeom>
            <a:noFill/>
            <a:ln>
              <a:solidFill>
                <a:srgbClr val="F68F0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grpSp>
          <p:nvGrpSpPr>
            <p:cNvPr id="27" name="Group 103">
              <a:extLst>
                <a:ext uri="{FF2B5EF4-FFF2-40B4-BE49-F238E27FC236}">
                  <a16:creationId xmlns:a16="http://schemas.microsoft.com/office/drawing/2014/main" id="{80BA850D-1329-6B88-884A-E1C3D170BFA9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9097129" y="5099759"/>
              <a:ext cx="432644" cy="433668"/>
              <a:chOff x="349" y="2997"/>
              <a:chExt cx="425" cy="426"/>
            </a:xfrm>
            <a:solidFill>
              <a:schemeClr val="tx1"/>
            </a:solidFill>
          </p:grpSpPr>
          <p:sp>
            <p:nvSpPr>
              <p:cNvPr id="28" name="Freeform 104">
                <a:extLst>
                  <a:ext uri="{FF2B5EF4-FFF2-40B4-BE49-F238E27FC236}">
                    <a16:creationId xmlns:a16="http://schemas.microsoft.com/office/drawing/2014/main" id="{9FBDF9CA-51D2-7DCE-F3A0-434A31D709E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9" y="3405"/>
                <a:ext cx="124" cy="18"/>
              </a:xfrm>
              <a:custGeom>
                <a:avLst/>
                <a:gdLst>
                  <a:gd name="T0" fmla="*/ 78 w 84"/>
                  <a:gd name="T1" fmla="*/ 12 h 12"/>
                  <a:gd name="T2" fmla="*/ 6 w 84"/>
                  <a:gd name="T3" fmla="*/ 12 h 12"/>
                  <a:gd name="T4" fmla="*/ 0 w 84"/>
                  <a:gd name="T5" fmla="*/ 6 h 12"/>
                  <a:gd name="T6" fmla="*/ 6 w 84"/>
                  <a:gd name="T7" fmla="*/ 0 h 12"/>
                  <a:gd name="T8" fmla="*/ 78 w 84"/>
                  <a:gd name="T9" fmla="*/ 0 h 12"/>
                  <a:gd name="T10" fmla="*/ 84 w 84"/>
                  <a:gd name="T11" fmla="*/ 6 h 12"/>
                  <a:gd name="T12" fmla="*/ 78 w 84"/>
                  <a:gd name="T13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4" h="12">
                    <a:moveTo>
                      <a:pt x="78" y="12"/>
                    </a:moveTo>
                    <a:cubicBezTo>
                      <a:pt x="6" y="12"/>
                      <a:pt x="6" y="12"/>
                      <a:pt x="6" y="12"/>
                    </a:cubicBezTo>
                    <a:cubicBezTo>
                      <a:pt x="2" y="12"/>
                      <a:pt x="0" y="10"/>
                      <a:pt x="0" y="6"/>
                    </a:cubicBezTo>
                    <a:cubicBezTo>
                      <a:pt x="0" y="3"/>
                      <a:pt x="2" y="0"/>
                      <a:pt x="6" y="0"/>
                    </a:cubicBezTo>
                    <a:cubicBezTo>
                      <a:pt x="78" y="0"/>
                      <a:pt x="78" y="0"/>
                      <a:pt x="78" y="0"/>
                    </a:cubicBezTo>
                    <a:cubicBezTo>
                      <a:pt x="81" y="0"/>
                      <a:pt x="84" y="3"/>
                      <a:pt x="84" y="6"/>
                    </a:cubicBezTo>
                    <a:cubicBezTo>
                      <a:pt x="84" y="10"/>
                      <a:pt x="81" y="12"/>
                      <a:pt x="78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AU" sz="140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  <p:sp>
            <p:nvSpPr>
              <p:cNvPr id="29" name="Freeform 105">
                <a:extLst>
                  <a:ext uri="{FF2B5EF4-FFF2-40B4-BE49-F238E27FC236}">
                    <a16:creationId xmlns:a16="http://schemas.microsoft.com/office/drawing/2014/main" id="{E76D3ABD-1FE9-83F2-144A-20F24EA6532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2" y="3370"/>
                <a:ext cx="18" cy="53"/>
              </a:xfrm>
              <a:custGeom>
                <a:avLst/>
                <a:gdLst>
                  <a:gd name="T0" fmla="*/ 6 w 12"/>
                  <a:gd name="T1" fmla="*/ 36 h 36"/>
                  <a:gd name="T2" fmla="*/ 0 w 12"/>
                  <a:gd name="T3" fmla="*/ 30 h 36"/>
                  <a:gd name="T4" fmla="*/ 0 w 12"/>
                  <a:gd name="T5" fmla="*/ 6 h 36"/>
                  <a:gd name="T6" fmla="*/ 6 w 12"/>
                  <a:gd name="T7" fmla="*/ 0 h 36"/>
                  <a:gd name="T8" fmla="*/ 12 w 12"/>
                  <a:gd name="T9" fmla="*/ 6 h 36"/>
                  <a:gd name="T10" fmla="*/ 12 w 12"/>
                  <a:gd name="T11" fmla="*/ 30 h 36"/>
                  <a:gd name="T12" fmla="*/ 6 w 12"/>
                  <a:gd name="T13" fmla="*/ 36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2" h="36">
                    <a:moveTo>
                      <a:pt x="6" y="36"/>
                    </a:moveTo>
                    <a:cubicBezTo>
                      <a:pt x="2" y="36"/>
                      <a:pt x="0" y="33"/>
                      <a:pt x="0" y="30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3"/>
                      <a:pt x="2" y="0"/>
                      <a:pt x="6" y="0"/>
                    </a:cubicBezTo>
                    <a:cubicBezTo>
                      <a:pt x="9" y="0"/>
                      <a:pt x="12" y="3"/>
                      <a:pt x="12" y="6"/>
                    </a:cubicBezTo>
                    <a:cubicBezTo>
                      <a:pt x="12" y="30"/>
                      <a:pt x="12" y="30"/>
                      <a:pt x="12" y="30"/>
                    </a:cubicBezTo>
                    <a:cubicBezTo>
                      <a:pt x="12" y="33"/>
                      <a:pt x="9" y="36"/>
                      <a:pt x="6" y="3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AU" sz="140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  <p:sp>
            <p:nvSpPr>
              <p:cNvPr id="30" name="Rectangle 106">
                <a:extLst>
                  <a:ext uri="{FF2B5EF4-FFF2-40B4-BE49-F238E27FC236}">
                    <a16:creationId xmlns:a16="http://schemas.microsoft.com/office/drawing/2014/main" id="{39CBA3E3-F5B8-0CD7-6CA9-1D6FB380547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58" y="3334"/>
                <a:ext cx="266" cy="18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AU" sz="140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  <p:sp>
            <p:nvSpPr>
              <p:cNvPr id="31" name="Freeform 107">
                <a:extLst>
                  <a:ext uri="{FF2B5EF4-FFF2-40B4-BE49-F238E27FC236}">
                    <a16:creationId xmlns:a16="http://schemas.microsoft.com/office/drawing/2014/main" id="{FFB2253E-2435-730D-5186-C3E4C7E5793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1" y="3068"/>
                <a:ext cx="115" cy="124"/>
              </a:xfrm>
              <a:custGeom>
                <a:avLst/>
                <a:gdLst>
                  <a:gd name="T0" fmla="*/ 6 w 78"/>
                  <a:gd name="T1" fmla="*/ 84 h 84"/>
                  <a:gd name="T2" fmla="*/ 0 w 78"/>
                  <a:gd name="T3" fmla="*/ 78 h 84"/>
                  <a:gd name="T4" fmla="*/ 0 w 78"/>
                  <a:gd name="T5" fmla="*/ 51 h 84"/>
                  <a:gd name="T6" fmla="*/ 51 w 78"/>
                  <a:gd name="T7" fmla="*/ 0 h 84"/>
                  <a:gd name="T8" fmla="*/ 72 w 78"/>
                  <a:gd name="T9" fmla="*/ 0 h 84"/>
                  <a:gd name="T10" fmla="*/ 78 w 78"/>
                  <a:gd name="T11" fmla="*/ 6 h 84"/>
                  <a:gd name="T12" fmla="*/ 72 w 78"/>
                  <a:gd name="T13" fmla="*/ 12 h 84"/>
                  <a:gd name="T14" fmla="*/ 51 w 78"/>
                  <a:gd name="T15" fmla="*/ 12 h 84"/>
                  <a:gd name="T16" fmla="*/ 12 w 78"/>
                  <a:gd name="T17" fmla="*/ 51 h 84"/>
                  <a:gd name="T18" fmla="*/ 12 w 78"/>
                  <a:gd name="T19" fmla="*/ 78 h 84"/>
                  <a:gd name="T20" fmla="*/ 6 w 78"/>
                  <a:gd name="T21" fmla="*/ 84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78" h="84">
                    <a:moveTo>
                      <a:pt x="6" y="84"/>
                    </a:moveTo>
                    <a:cubicBezTo>
                      <a:pt x="2" y="84"/>
                      <a:pt x="0" y="82"/>
                      <a:pt x="0" y="78"/>
                    </a:cubicBezTo>
                    <a:cubicBezTo>
                      <a:pt x="0" y="51"/>
                      <a:pt x="0" y="51"/>
                      <a:pt x="0" y="51"/>
                    </a:cubicBezTo>
                    <a:cubicBezTo>
                      <a:pt x="0" y="23"/>
                      <a:pt x="23" y="0"/>
                      <a:pt x="51" y="0"/>
                    </a:cubicBezTo>
                    <a:cubicBezTo>
                      <a:pt x="72" y="0"/>
                      <a:pt x="72" y="0"/>
                      <a:pt x="72" y="0"/>
                    </a:cubicBezTo>
                    <a:cubicBezTo>
                      <a:pt x="75" y="0"/>
                      <a:pt x="78" y="3"/>
                      <a:pt x="78" y="6"/>
                    </a:cubicBezTo>
                    <a:cubicBezTo>
                      <a:pt x="78" y="10"/>
                      <a:pt x="75" y="12"/>
                      <a:pt x="72" y="12"/>
                    </a:cubicBezTo>
                    <a:cubicBezTo>
                      <a:pt x="51" y="12"/>
                      <a:pt x="51" y="12"/>
                      <a:pt x="51" y="12"/>
                    </a:cubicBezTo>
                    <a:cubicBezTo>
                      <a:pt x="29" y="12"/>
                      <a:pt x="12" y="30"/>
                      <a:pt x="12" y="51"/>
                    </a:cubicBezTo>
                    <a:cubicBezTo>
                      <a:pt x="12" y="78"/>
                      <a:pt x="12" y="78"/>
                      <a:pt x="12" y="78"/>
                    </a:cubicBezTo>
                    <a:cubicBezTo>
                      <a:pt x="12" y="82"/>
                      <a:pt x="9" y="84"/>
                      <a:pt x="6" y="8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AU" sz="140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  <p:sp>
            <p:nvSpPr>
              <p:cNvPr id="32" name="Freeform 108">
                <a:extLst>
                  <a:ext uri="{FF2B5EF4-FFF2-40B4-BE49-F238E27FC236}">
                    <a16:creationId xmlns:a16="http://schemas.microsoft.com/office/drawing/2014/main" id="{72C2E7E1-85C7-2067-8925-583903E362B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54" y="3139"/>
                <a:ext cx="90" cy="53"/>
              </a:xfrm>
              <a:custGeom>
                <a:avLst/>
                <a:gdLst>
                  <a:gd name="T0" fmla="*/ 31 w 61"/>
                  <a:gd name="T1" fmla="*/ 36 h 36"/>
                  <a:gd name="T2" fmla="*/ 26 w 61"/>
                  <a:gd name="T3" fmla="*/ 34 h 36"/>
                  <a:gd name="T4" fmla="*/ 2 w 61"/>
                  <a:gd name="T5" fmla="*/ 10 h 36"/>
                  <a:gd name="T6" fmla="*/ 2 w 61"/>
                  <a:gd name="T7" fmla="*/ 2 h 36"/>
                  <a:gd name="T8" fmla="*/ 11 w 61"/>
                  <a:gd name="T9" fmla="*/ 2 h 36"/>
                  <a:gd name="T10" fmla="*/ 31 w 61"/>
                  <a:gd name="T11" fmla="*/ 22 h 36"/>
                  <a:gd name="T12" fmla="*/ 50 w 61"/>
                  <a:gd name="T13" fmla="*/ 2 h 36"/>
                  <a:gd name="T14" fmla="*/ 59 w 61"/>
                  <a:gd name="T15" fmla="*/ 2 h 36"/>
                  <a:gd name="T16" fmla="*/ 59 w 61"/>
                  <a:gd name="T17" fmla="*/ 10 h 36"/>
                  <a:gd name="T18" fmla="*/ 35 w 61"/>
                  <a:gd name="T19" fmla="*/ 34 h 36"/>
                  <a:gd name="T20" fmla="*/ 31 w 61"/>
                  <a:gd name="T21" fmla="*/ 36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61" h="36">
                    <a:moveTo>
                      <a:pt x="31" y="36"/>
                    </a:moveTo>
                    <a:cubicBezTo>
                      <a:pt x="29" y="36"/>
                      <a:pt x="28" y="36"/>
                      <a:pt x="26" y="34"/>
                    </a:cubicBezTo>
                    <a:cubicBezTo>
                      <a:pt x="2" y="10"/>
                      <a:pt x="2" y="10"/>
                      <a:pt x="2" y="10"/>
                    </a:cubicBezTo>
                    <a:cubicBezTo>
                      <a:pt x="0" y="8"/>
                      <a:pt x="0" y="4"/>
                      <a:pt x="2" y="2"/>
                    </a:cubicBezTo>
                    <a:cubicBezTo>
                      <a:pt x="5" y="0"/>
                      <a:pt x="9" y="0"/>
                      <a:pt x="11" y="2"/>
                    </a:cubicBezTo>
                    <a:cubicBezTo>
                      <a:pt x="31" y="22"/>
                      <a:pt x="31" y="22"/>
                      <a:pt x="31" y="22"/>
                    </a:cubicBezTo>
                    <a:cubicBezTo>
                      <a:pt x="50" y="2"/>
                      <a:pt x="50" y="2"/>
                      <a:pt x="50" y="2"/>
                    </a:cubicBezTo>
                    <a:cubicBezTo>
                      <a:pt x="53" y="0"/>
                      <a:pt x="57" y="0"/>
                      <a:pt x="59" y="2"/>
                    </a:cubicBezTo>
                    <a:cubicBezTo>
                      <a:pt x="61" y="4"/>
                      <a:pt x="61" y="8"/>
                      <a:pt x="59" y="10"/>
                    </a:cubicBezTo>
                    <a:cubicBezTo>
                      <a:pt x="35" y="34"/>
                      <a:pt x="35" y="34"/>
                      <a:pt x="35" y="34"/>
                    </a:cubicBezTo>
                    <a:cubicBezTo>
                      <a:pt x="34" y="36"/>
                      <a:pt x="32" y="36"/>
                      <a:pt x="31" y="3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AU" sz="140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  <p:sp>
            <p:nvSpPr>
              <p:cNvPr id="33" name="Freeform 109">
                <a:extLst>
                  <a:ext uri="{FF2B5EF4-FFF2-40B4-BE49-F238E27FC236}">
                    <a16:creationId xmlns:a16="http://schemas.microsoft.com/office/drawing/2014/main" id="{9A958E6A-2D6C-6241-8D77-0284FF32ADC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9" y="3192"/>
                <a:ext cx="283" cy="196"/>
              </a:xfrm>
              <a:custGeom>
                <a:avLst/>
                <a:gdLst>
                  <a:gd name="T0" fmla="*/ 168 w 192"/>
                  <a:gd name="T1" fmla="*/ 132 h 132"/>
                  <a:gd name="T2" fmla="*/ 24 w 192"/>
                  <a:gd name="T3" fmla="*/ 132 h 132"/>
                  <a:gd name="T4" fmla="*/ 0 w 192"/>
                  <a:gd name="T5" fmla="*/ 108 h 132"/>
                  <a:gd name="T6" fmla="*/ 0 w 192"/>
                  <a:gd name="T7" fmla="*/ 24 h 132"/>
                  <a:gd name="T8" fmla="*/ 24 w 192"/>
                  <a:gd name="T9" fmla="*/ 0 h 132"/>
                  <a:gd name="T10" fmla="*/ 42 w 192"/>
                  <a:gd name="T11" fmla="*/ 0 h 132"/>
                  <a:gd name="T12" fmla="*/ 48 w 192"/>
                  <a:gd name="T13" fmla="*/ 6 h 132"/>
                  <a:gd name="T14" fmla="*/ 42 w 192"/>
                  <a:gd name="T15" fmla="*/ 12 h 132"/>
                  <a:gd name="T16" fmla="*/ 24 w 192"/>
                  <a:gd name="T17" fmla="*/ 12 h 132"/>
                  <a:gd name="T18" fmla="*/ 12 w 192"/>
                  <a:gd name="T19" fmla="*/ 24 h 132"/>
                  <a:gd name="T20" fmla="*/ 12 w 192"/>
                  <a:gd name="T21" fmla="*/ 108 h 132"/>
                  <a:gd name="T22" fmla="*/ 24 w 192"/>
                  <a:gd name="T23" fmla="*/ 120 h 132"/>
                  <a:gd name="T24" fmla="*/ 168 w 192"/>
                  <a:gd name="T25" fmla="*/ 120 h 132"/>
                  <a:gd name="T26" fmla="*/ 180 w 192"/>
                  <a:gd name="T27" fmla="*/ 108 h 132"/>
                  <a:gd name="T28" fmla="*/ 180 w 192"/>
                  <a:gd name="T29" fmla="*/ 24 h 132"/>
                  <a:gd name="T30" fmla="*/ 168 w 192"/>
                  <a:gd name="T31" fmla="*/ 12 h 132"/>
                  <a:gd name="T32" fmla="*/ 150 w 192"/>
                  <a:gd name="T33" fmla="*/ 12 h 132"/>
                  <a:gd name="T34" fmla="*/ 144 w 192"/>
                  <a:gd name="T35" fmla="*/ 6 h 132"/>
                  <a:gd name="T36" fmla="*/ 150 w 192"/>
                  <a:gd name="T37" fmla="*/ 0 h 132"/>
                  <a:gd name="T38" fmla="*/ 168 w 192"/>
                  <a:gd name="T39" fmla="*/ 0 h 132"/>
                  <a:gd name="T40" fmla="*/ 192 w 192"/>
                  <a:gd name="T41" fmla="*/ 24 h 132"/>
                  <a:gd name="T42" fmla="*/ 192 w 192"/>
                  <a:gd name="T43" fmla="*/ 108 h 132"/>
                  <a:gd name="T44" fmla="*/ 168 w 192"/>
                  <a:gd name="T45" fmla="*/ 132 h 1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192" h="132">
                    <a:moveTo>
                      <a:pt x="168" y="132"/>
                    </a:moveTo>
                    <a:cubicBezTo>
                      <a:pt x="24" y="132"/>
                      <a:pt x="24" y="132"/>
                      <a:pt x="24" y="132"/>
                    </a:cubicBezTo>
                    <a:cubicBezTo>
                      <a:pt x="10" y="132"/>
                      <a:pt x="0" y="121"/>
                      <a:pt x="0" y="108"/>
                    </a:cubicBezTo>
                    <a:cubicBezTo>
                      <a:pt x="0" y="24"/>
                      <a:pt x="0" y="24"/>
                      <a:pt x="0" y="24"/>
                    </a:cubicBezTo>
                    <a:cubicBezTo>
                      <a:pt x="0" y="11"/>
                      <a:pt x="10" y="0"/>
                      <a:pt x="24" y="0"/>
                    </a:cubicBezTo>
                    <a:cubicBezTo>
                      <a:pt x="42" y="0"/>
                      <a:pt x="42" y="0"/>
                      <a:pt x="42" y="0"/>
                    </a:cubicBezTo>
                    <a:cubicBezTo>
                      <a:pt x="45" y="0"/>
                      <a:pt x="48" y="3"/>
                      <a:pt x="48" y="6"/>
                    </a:cubicBezTo>
                    <a:cubicBezTo>
                      <a:pt x="48" y="10"/>
                      <a:pt x="45" y="12"/>
                      <a:pt x="42" y="12"/>
                    </a:cubicBezTo>
                    <a:cubicBezTo>
                      <a:pt x="24" y="12"/>
                      <a:pt x="24" y="12"/>
                      <a:pt x="24" y="12"/>
                    </a:cubicBezTo>
                    <a:cubicBezTo>
                      <a:pt x="17" y="12"/>
                      <a:pt x="12" y="18"/>
                      <a:pt x="12" y="24"/>
                    </a:cubicBezTo>
                    <a:cubicBezTo>
                      <a:pt x="12" y="108"/>
                      <a:pt x="12" y="108"/>
                      <a:pt x="12" y="108"/>
                    </a:cubicBezTo>
                    <a:cubicBezTo>
                      <a:pt x="12" y="115"/>
                      <a:pt x="17" y="120"/>
                      <a:pt x="24" y="120"/>
                    </a:cubicBezTo>
                    <a:cubicBezTo>
                      <a:pt x="168" y="120"/>
                      <a:pt x="168" y="120"/>
                      <a:pt x="168" y="120"/>
                    </a:cubicBezTo>
                    <a:cubicBezTo>
                      <a:pt x="174" y="120"/>
                      <a:pt x="180" y="115"/>
                      <a:pt x="180" y="108"/>
                    </a:cubicBezTo>
                    <a:cubicBezTo>
                      <a:pt x="180" y="24"/>
                      <a:pt x="180" y="24"/>
                      <a:pt x="180" y="24"/>
                    </a:cubicBezTo>
                    <a:cubicBezTo>
                      <a:pt x="180" y="18"/>
                      <a:pt x="174" y="12"/>
                      <a:pt x="168" y="12"/>
                    </a:cubicBezTo>
                    <a:cubicBezTo>
                      <a:pt x="150" y="12"/>
                      <a:pt x="150" y="12"/>
                      <a:pt x="150" y="12"/>
                    </a:cubicBezTo>
                    <a:cubicBezTo>
                      <a:pt x="146" y="12"/>
                      <a:pt x="144" y="10"/>
                      <a:pt x="144" y="6"/>
                    </a:cubicBezTo>
                    <a:cubicBezTo>
                      <a:pt x="144" y="3"/>
                      <a:pt x="146" y="0"/>
                      <a:pt x="150" y="0"/>
                    </a:cubicBezTo>
                    <a:cubicBezTo>
                      <a:pt x="168" y="0"/>
                      <a:pt x="168" y="0"/>
                      <a:pt x="168" y="0"/>
                    </a:cubicBezTo>
                    <a:cubicBezTo>
                      <a:pt x="181" y="0"/>
                      <a:pt x="192" y="11"/>
                      <a:pt x="192" y="24"/>
                    </a:cubicBezTo>
                    <a:cubicBezTo>
                      <a:pt x="192" y="108"/>
                      <a:pt x="192" y="108"/>
                      <a:pt x="192" y="108"/>
                    </a:cubicBezTo>
                    <a:cubicBezTo>
                      <a:pt x="192" y="121"/>
                      <a:pt x="181" y="132"/>
                      <a:pt x="168" y="13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AU" sz="140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  <p:sp>
            <p:nvSpPr>
              <p:cNvPr id="34" name="Freeform 110">
                <a:extLst>
                  <a:ext uri="{FF2B5EF4-FFF2-40B4-BE49-F238E27FC236}">
                    <a16:creationId xmlns:a16="http://schemas.microsoft.com/office/drawing/2014/main" id="{AC6F042A-B668-BDB3-5EEB-BFD1F77C8BB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0" y="3041"/>
                <a:ext cx="46" cy="71"/>
              </a:xfrm>
              <a:custGeom>
                <a:avLst/>
                <a:gdLst>
                  <a:gd name="T0" fmla="*/ 7 w 31"/>
                  <a:gd name="T1" fmla="*/ 48 h 48"/>
                  <a:gd name="T2" fmla="*/ 2 w 31"/>
                  <a:gd name="T3" fmla="*/ 46 h 48"/>
                  <a:gd name="T4" fmla="*/ 2 w 31"/>
                  <a:gd name="T5" fmla="*/ 38 h 48"/>
                  <a:gd name="T6" fmla="*/ 16 w 31"/>
                  <a:gd name="T7" fmla="*/ 24 h 48"/>
                  <a:gd name="T8" fmla="*/ 2 w 31"/>
                  <a:gd name="T9" fmla="*/ 10 h 48"/>
                  <a:gd name="T10" fmla="*/ 2 w 31"/>
                  <a:gd name="T11" fmla="*/ 2 h 48"/>
                  <a:gd name="T12" fmla="*/ 11 w 31"/>
                  <a:gd name="T13" fmla="*/ 2 h 48"/>
                  <a:gd name="T14" fmla="*/ 29 w 31"/>
                  <a:gd name="T15" fmla="*/ 20 h 48"/>
                  <a:gd name="T16" fmla="*/ 29 w 31"/>
                  <a:gd name="T17" fmla="*/ 28 h 48"/>
                  <a:gd name="T18" fmla="*/ 11 w 31"/>
                  <a:gd name="T19" fmla="*/ 46 h 48"/>
                  <a:gd name="T20" fmla="*/ 7 w 31"/>
                  <a:gd name="T21" fmla="*/ 48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31" h="48">
                    <a:moveTo>
                      <a:pt x="7" y="48"/>
                    </a:moveTo>
                    <a:cubicBezTo>
                      <a:pt x="5" y="48"/>
                      <a:pt x="4" y="48"/>
                      <a:pt x="2" y="46"/>
                    </a:cubicBezTo>
                    <a:cubicBezTo>
                      <a:pt x="0" y="44"/>
                      <a:pt x="0" y="40"/>
                      <a:pt x="2" y="38"/>
                    </a:cubicBezTo>
                    <a:cubicBezTo>
                      <a:pt x="16" y="24"/>
                      <a:pt x="16" y="24"/>
                      <a:pt x="16" y="24"/>
                    </a:cubicBezTo>
                    <a:cubicBezTo>
                      <a:pt x="2" y="10"/>
                      <a:pt x="2" y="10"/>
                      <a:pt x="2" y="10"/>
                    </a:cubicBezTo>
                    <a:cubicBezTo>
                      <a:pt x="0" y="8"/>
                      <a:pt x="0" y="4"/>
                      <a:pt x="2" y="2"/>
                    </a:cubicBezTo>
                    <a:cubicBezTo>
                      <a:pt x="5" y="0"/>
                      <a:pt x="9" y="0"/>
                      <a:pt x="11" y="2"/>
                    </a:cubicBezTo>
                    <a:cubicBezTo>
                      <a:pt x="29" y="20"/>
                      <a:pt x="29" y="20"/>
                      <a:pt x="29" y="20"/>
                    </a:cubicBezTo>
                    <a:cubicBezTo>
                      <a:pt x="31" y="22"/>
                      <a:pt x="31" y="26"/>
                      <a:pt x="29" y="28"/>
                    </a:cubicBezTo>
                    <a:cubicBezTo>
                      <a:pt x="11" y="46"/>
                      <a:pt x="11" y="46"/>
                      <a:pt x="11" y="46"/>
                    </a:cubicBezTo>
                    <a:cubicBezTo>
                      <a:pt x="10" y="48"/>
                      <a:pt x="8" y="48"/>
                      <a:pt x="7" y="4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AU" sz="140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  <p:sp>
            <p:nvSpPr>
              <p:cNvPr id="35" name="Freeform 111">
                <a:extLst>
                  <a:ext uri="{FF2B5EF4-FFF2-40B4-BE49-F238E27FC236}">
                    <a16:creationId xmlns:a16="http://schemas.microsoft.com/office/drawing/2014/main" id="{A28D1BF9-E986-2EC1-5B74-A301639CF63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2" y="2997"/>
                <a:ext cx="212" cy="160"/>
              </a:xfrm>
              <a:custGeom>
                <a:avLst/>
                <a:gdLst>
                  <a:gd name="T0" fmla="*/ 105 w 144"/>
                  <a:gd name="T1" fmla="*/ 108 h 108"/>
                  <a:gd name="T2" fmla="*/ 0 w 144"/>
                  <a:gd name="T3" fmla="*/ 108 h 108"/>
                  <a:gd name="T4" fmla="*/ 0 w 144"/>
                  <a:gd name="T5" fmla="*/ 96 h 108"/>
                  <a:gd name="T6" fmla="*/ 104 w 144"/>
                  <a:gd name="T7" fmla="*/ 96 h 108"/>
                  <a:gd name="T8" fmla="*/ 132 w 144"/>
                  <a:gd name="T9" fmla="*/ 68 h 108"/>
                  <a:gd name="T10" fmla="*/ 123 w 144"/>
                  <a:gd name="T11" fmla="*/ 48 h 108"/>
                  <a:gd name="T12" fmla="*/ 100 w 144"/>
                  <a:gd name="T13" fmla="*/ 40 h 108"/>
                  <a:gd name="T14" fmla="*/ 94 w 144"/>
                  <a:gd name="T15" fmla="*/ 36 h 108"/>
                  <a:gd name="T16" fmla="*/ 54 w 144"/>
                  <a:gd name="T17" fmla="*/ 12 h 108"/>
                  <a:gd name="T18" fmla="*/ 28 w 144"/>
                  <a:gd name="T19" fmla="*/ 19 h 108"/>
                  <a:gd name="T20" fmla="*/ 22 w 144"/>
                  <a:gd name="T21" fmla="*/ 9 h 108"/>
                  <a:gd name="T22" fmla="*/ 54 w 144"/>
                  <a:gd name="T23" fmla="*/ 0 h 108"/>
                  <a:gd name="T24" fmla="*/ 103 w 144"/>
                  <a:gd name="T25" fmla="*/ 28 h 108"/>
                  <a:gd name="T26" fmla="*/ 131 w 144"/>
                  <a:gd name="T27" fmla="*/ 40 h 108"/>
                  <a:gd name="T28" fmla="*/ 144 w 144"/>
                  <a:gd name="T29" fmla="*/ 68 h 108"/>
                  <a:gd name="T30" fmla="*/ 106 w 144"/>
                  <a:gd name="T31" fmla="*/ 108 h 108"/>
                  <a:gd name="T32" fmla="*/ 105 w 144"/>
                  <a:gd name="T33" fmla="*/ 108 h 1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44" h="108">
                    <a:moveTo>
                      <a:pt x="105" y="108"/>
                    </a:moveTo>
                    <a:cubicBezTo>
                      <a:pt x="0" y="108"/>
                      <a:pt x="0" y="108"/>
                      <a:pt x="0" y="108"/>
                    </a:cubicBezTo>
                    <a:cubicBezTo>
                      <a:pt x="0" y="96"/>
                      <a:pt x="0" y="96"/>
                      <a:pt x="0" y="96"/>
                    </a:cubicBezTo>
                    <a:cubicBezTo>
                      <a:pt x="104" y="96"/>
                      <a:pt x="104" y="96"/>
                      <a:pt x="104" y="96"/>
                    </a:cubicBezTo>
                    <a:cubicBezTo>
                      <a:pt x="108" y="96"/>
                      <a:pt x="132" y="91"/>
                      <a:pt x="132" y="68"/>
                    </a:cubicBezTo>
                    <a:cubicBezTo>
                      <a:pt x="132" y="61"/>
                      <a:pt x="129" y="54"/>
                      <a:pt x="123" y="48"/>
                    </a:cubicBezTo>
                    <a:cubicBezTo>
                      <a:pt x="117" y="43"/>
                      <a:pt x="109" y="39"/>
                      <a:pt x="100" y="40"/>
                    </a:cubicBezTo>
                    <a:cubicBezTo>
                      <a:pt x="98" y="40"/>
                      <a:pt x="95" y="39"/>
                      <a:pt x="94" y="36"/>
                    </a:cubicBezTo>
                    <a:cubicBezTo>
                      <a:pt x="87" y="22"/>
                      <a:pt x="71" y="12"/>
                      <a:pt x="54" y="12"/>
                    </a:cubicBezTo>
                    <a:cubicBezTo>
                      <a:pt x="45" y="12"/>
                      <a:pt x="36" y="15"/>
                      <a:pt x="28" y="19"/>
                    </a:cubicBezTo>
                    <a:cubicBezTo>
                      <a:pt x="22" y="9"/>
                      <a:pt x="22" y="9"/>
                      <a:pt x="22" y="9"/>
                    </a:cubicBezTo>
                    <a:cubicBezTo>
                      <a:pt x="31" y="3"/>
                      <a:pt x="42" y="0"/>
                      <a:pt x="54" y="0"/>
                    </a:cubicBezTo>
                    <a:cubicBezTo>
                      <a:pt x="74" y="0"/>
                      <a:pt x="93" y="11"/>
                      <a:pt x="103" y="28"/>
                    </a:cubicBezTo>
                    <a:cubicBezTo>
                      <a:pt x="114" y="28"/>
                      <a:pt x="124" y="33"/>
                      <a:pt x="131" y="40"/>
                    </a:cubicBezTo>
                    <a:cubicBezTo>
                      <a:pt x="139" y="47"/>
                      <a:pt x="144" y="57"/>
                      <a:pt x="144" y="68"/>
                    </a:cubicBezTo>
                    <a:cubicBezTo>
                      <a:pt x="144" y="96"/>
                      <a:pt x="119" y="107"/>
                      <a:pt x="106" y="108"/>
                    </a:cubicBezTo>
                    <a:cubicBezTo>
                      <a:pt x="105" y="108"/>
                      <a:pt x="105" y="108"/>
                      <a:pt x="105" y="10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AU" sz="140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</p:grpSp>
      </p:grpSp>
      <p:sp>
        <p:nvSpPr>
          <p:cNvPr id="38" name="Oval 40">
            <a:extLst>
              <a:ext uri="{FF2B5EF4-FFF2-40B4-BE49-F238E27FC236}">
                <a16:creationId xmlns:a16="http://schemas.microsoft.com/office/drawing/2014/main" id="{1B0F0131-660D-B1DE-31BC-F1B5D2250D87}"/>
              </a:ext>
            </a:extLst>
          </p:cNvPr>
          <p:cNvSpPr/>
          <p:nvPr/>
        </p:nvSpPr>
        <p:spPr>
          <a:xfrm>
            <a:off x="6687649" y="4100207"/>
            <a:ext cx="663006" cy="663006"/>
          </a:xfrm>
          <a:prstGeom prst="ellipse">
            <a:avLst/>
          </a:prstGeom>
          <a:solidFill>
            <a:srgbClr val="FCD6A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40" name="Oval 41">
            <a:extLst>
              <a:ext uri="{FF2B5EF4-FFF2-40B4-BE49-F238E27FC236}">
                <a16:creationId xmlns:a16="http://schemas.microsoft.com/office/drawing/2014/main" id="{69040267-A4EA-39CB-8ECC-AA04AFC0F86B}"/>
              </a:ext>
            </a:extLst>
          </p:cNvPr>
          <p:cNvSpPr>
            <a:spLocks/>
          </p:cNvSpPr>
          <p:nvPr/>
        </p:nvSpPr>
        <p:spPr>
          <a:xfrm>
            <a:off x="6795498" y="4198593"/>
            <a:ext cx="452571" cy="452571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b="1" spc="-4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42" name="Oval 42">
            <a:extLst>
              <a:ext uri="{FF2B5EF4-FFF2-40B4-BE49-F238E27FC236}">
                <a16:creationId xmlns:a16="http://schemas.microsoft.com/office/drawing/2014/main" id="{F691CA02-CFC3-1230-4A09-590A428786D1}"/>
              </a:ext>
            </a:extLst>
          </p:cNvPr>
          <p:cNvSpPr/>
          <p:nvPr/>
        </p:nvSpPr>
        <p:spPr>
          <a:xfrm>
            <a:off x="6626820" y="4034957"/>
            <a:ext cx="792000" cy="792000"/>
          </a:xfrm>
          <a:prstGeom prst="ellipse">
            <a:avLst/>
          </a:prstGeom>
          <a:noFill/>
          <a:ln>
            <a:solidFill>
              <a:srgbClr val="F68F0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44" name="Oval 40">
            <a:extLst>
              <a:ext uri="{FF2B5EF4-FFF2-40B4-BE49-F238E27FC236}">
                <a16:creationId xmlns:a16="http://schemas.microsoft.com/office/drawing/2014/main" id="{358A48EB-45C3-90AE-45C7-7EF8C881F7F6}"/>
              </a:ext>
            </a:extLst>
          </p:cNvPr>
          <p:cNvSpPr/>
          <p:nvPr/>
        </p:nvSpPr>
        <p:spPr>
          <a:xfrm>
            <a:off x="8581301" y="4100207"/>
            <a:ext cx="663006" cy="663006"/>
          </a:xfrm>
          <a:prstGeom prst="ellipse">
            <a:avLst/>
          </a:prstGeom>
          <a:solidFill>
            <a:srgbClr val="FCD6A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46" name="Oval 41">
            <a:extLst>
              <a:ext uri="{FF2B5EF4-FFF2-40B4-BE49-F238E27FC236}">
                <a16:creationId xmlns:a16="http://schemas.microsoft.com/office/drawing/2014/main" id="{37DE250B-1CFA-FA05-CF29-042E40A518D9}"/>
              </a:ext>
            </a:extLst>
          </p:cNvPr>
          <p:cNvSpPr>
            <a:spLocks/>
          </p:cNvSpPr>
          <p:nvPr/>
        </p:nvSpPr>
        <p:spPr>
          <a:xfrm>
            <a:off x="8689150" y="4198593"/>
            <a:ext cx="452571" cy="452571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b="1" spc="-4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48" name="Oval 42">
            <a:extLst>
              <a:ext uri="{FF2B5EF4-FFF2-40B4-BE49-F238E27FC236}">
                <a16:creationId xmlns:a16="http://schemas.microsoft.com/office/drawing/2014/main" id="{5EBFB0ED-1916-1B82-2ED9-F1DA7D818E49}"/>
              </a:ext>
            </a:extLst>
          </p:cNvPr>
          <p:cNvSpPr/>
          <p:nvPr/>
        </p:nvSpPr>
        <p:spPr>
          <a:xfrm>
            <a:off x="8520472" y="4034957"/>
            <a:ext cx="792000" cy="792000"/>
          </a:xfrm>
          <a:prstGeom prst="ellipse">
            <a:avLst/>
          </a:prstGeom>
          <a:noFill/>
          <a:ln>
            <a:solidFill>
              <a:srgbClr val="F68F0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50" name="Oval 40">
            <a:extLst>
              <a:ext uri="{FF2B5EF4-FFF2-40B4-BE49-F238E27FC236}">
                <a16:creationId xmlns:a16="http://schemas.microsoft.com/office/drawing/2014/main" id="{5EA0D03C-6773-90F7-121F-737662BA50FD}"/>
              </a:ext>
            </a:extLst>
          </p:cNvPr>
          <p:cNvSpPr/>
          <p:nvPr/>
        </p:nvSpPr>
        <p:spPr>
          <a:xfrm>
            <a:off x="10474951" y="4100207"/>
            <a:ext cx="663006" cy="663006"/>
          </a:xfrm>
          <a:prstGeom prst="ellipse">
            <a:avLst/>
          </a:prstGeom>
          <a:solidFill>
            <a:srgbClr val="FCD6A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52" name="Oval 41">
            <a:extLst>
              <a:ext uri="{FF2B5EF4-FFF2-40B4-BE49-F238E27FC236}">
                <a16:creationId xmlns:a16="http://schemas.microsoft.com/office/drawing/2014/main" id="{0105A0C8-CA18-10FA-0164-DAC3E8818573}"/>
              </a:ext>
            </a:extLst>
          </p:cNvPr>
          <p:cNvSpPr>
            <a:spLocks/>
          </p:cNvSpPr>
          <p:nvPr/>
        </p:nvSpPr>
        <p:spPr>
          <a:xfrm>
            <a:off x="10582800" y="4198593"/>
            <a:ext cx="452571" cy="452571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b="1" spc="-4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54" name="Oval 42">
            <a:extLst>
              <a:ext uri="{FF2B5EF4-FFF2-40B4-BE49-F238E27FC236}">
                <a16:creationId xmlns:a16="http://schemas.microsoft.com/office/drawing/2014/main" id="{DA27DCF5-39C0-B4AD-A418-997E0375A888}"/>
              </a:ext>
            </a:extLst>
          </p:cNvPr>
          <p:cNvSpPr/>
          <p:nvPr/>
        </p:nvSpPr>
        <p:spPr>
          <a:xfrm>
            <a:off x="10414122" y="4034957"/>
            <a:ext cx="792000" cy="792000"/>
          </a:xfrm>
          <a:prstGeom prst="ellipse">
            <a:avLst/>
          </a:prstGeom>
          <a:noFill/>
          <a:ln>
            <a:solidFill>
              <a:srgbClr val="F68F0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909520F4-AD1B-022A-4316-0B3F5681AA6C}"/>
              </a:ext>
            </a:extLst>
          </p:cNvPr>
          <p:cNvSpPr/>
          <p:nvPr/>
        </p:nvSpPr>
        <p:spPr>
          <a:xfrm>
            <a:off x="6263121" y="2059570"/>
            <a:ext cx="4903839" cy="355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r">
              <a:defRPr/>
            </a:pPr>
            <a:r>
              <a:rPr lang="es-AR" sz="1400" b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amage</a:t>
            </a:r>
            <a:r>
              <a:rPr lang="es-AR" sz="14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s-AR" sz="140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o</a:t>
            </a:r>
            <a:r>
              <a:rPr lang="es-AR" sz="14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s-AR" sz="140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infrastructure</a:t>
            </a:r>
            <a:r>
              <a:rPr lang="es-AR" sz="14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, human </a:t>
            </a:r>
            <a:r>
              <a:rPr lang="es-AR" sz="140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health</a:t>
            </a:r>
            <a:r>
              <a:rPr lang="es-AR" sz="14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, </a:t>
            </a:r>
            <a:r>
              <a:rPr lang="es-AR" sz="140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ourism</a:t>
            </a:r>
            <a:r>
              <a:rPr lang="es-AR" sz="14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sector </a:t>
            </a:r>
            <a:r>
              <a:rPr lang="es-AR" sz="140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ompetitiveness</a:t>
            </a:r>
            <a:r>
              <a:rPr lang="es-AR" sz="14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, </a:t>
            </a:r>
            <a:r>
              <a:rPr lang="es-AR" sz="140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nergy</a:t>
            </a:r>
            <a:r>
              <a:rPr lang="es-AR" sz="14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s-AR" sz="140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emand</a:t>
            </a:r>
            <a:r>
              <a:rPr lang="es-AR" sz="14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.</a:t>
            </a:r>
            <a:endParaRPr lang="en-US" sz="140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66D8C015-D947-1BCF-784D-2D09C7857420}"/>
              </a:ext>
            </a:extLst>
          </p:cNvPr>
          <p:cNvSpPr/>
          <p:nvPr/>
        </p:nvSpPr>
        <p:spPr>
          <a:xfrm>
            <a:off x="6263121" y="2522811"/>
            <a:ext cx="4903839" cy="355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r">
              <a:defRPr/>
            </a:pPr>
            <a:r>
              <a:rPr lang="es-AR" sz="1400" b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nergy </a:t>
            </a:r>
            <a:r>
              <a:rPr lang="es-AR" sz="1400" b="1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ransition</a:t>
            </a:r>
            <a:r>
              <a:rPr lang="es-AR" sz="1400" b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s-AR" sz="140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relies</a:t>
            </a:r>
            <a:r>
              <a:rPr lang="es-AR" sz="14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s-AR" sz="140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heavily</a:t>
            </a:r>
            <a:r>
              <a:rPr lang="es-AR" sz="14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s-AR" sz="140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on</a:t>
            </a:r>
            <a:r>
              <a:rPr lang="es-AR" sz="14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s-AR" sz="1400" b="1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lectricity</a:t>
            </a:r>
            <a:endParaRPr lang="en-US" sz="1400" b="1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60" name="Rectangle 59">
            <a:extLst>
              <a:ext uri="{FF2B5EF4-FFF2-40B4-BE49-F238E27FC236}">
                <a16:creationId xmlns:a16="http://schemas.microsoft.com/office/drawing/2014/main" id="{BDABAE89-A9F1-D29B-0806-8AAA055ED9F4}"/>
              </a:ext>
            </a:extLst>
          </p:cNvPr>
          <p:cNvSpPr/>
          <p:nvPr/>
        </p:nvSpPr>
        <p:spPr>
          <a:xfrm>
            <a:off x="6263121" y="3049749"/>
            <a:ext cx="4903839" cy="355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R="0" lvl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s-AR" sz="1400" b="1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National</a:t>
            </a:r>
            <a:r>
              <a:rPr lang="es-AR" sz="1400" b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Energy and </a:t>
            </a:r>
            <a:r>
              <a:rPr lang="es-AR" sz="1400" b="1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limate</a:t>
            </a:r>
            <a:r>
              <a:rPr lang="es-AR" sz="1400" b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Plan</a:t>
            </a:r>
            <a:endParaRPr lang="en-US" sz="1400" b="1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grpSp>
        <p:nvGrpSpPr>
          <p:cNvPr id="64" name="Group 19">
            <a:extLst>
              <a:ext uri="{FF2B5EF4-FFF2-40B4-BE49-F238E27FC236}">
                <a16:creationId xmlns:a16="http://schemas.microsoft.com/office/drawing/2014/main" id="{ABD13958-D7F6-CD77-8071-AD1555A883A7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1274629" y="1987355"/>
            <a:ext cx="360896" cy="355600"/>
            <a:chOff x="5410" y="2699"/>
            <a:chExt cx="477" cy="470"/>
          </a:xfrm>
          <a:solidFill>
            <a:schemeClr val="tx1"/>
          </a:solidFill>
        </p:grpSpPr>
        <p:sp>
          <p:nvSpPr>
            <p:cNvPr id="62" name="Freeform 20">
              <a:extLst>
                <a:ext uri="{FF2B5EF4-FFF2-40B4-BE49-F238E27FC236}">
                  <a16:creationId xmlns:a16="http://schemas.microsoft.com/office/drawing/2014/main" id="{473CE8D8-5A3D-11D2-83D7-599635243C06}"/>
                </a:ext>
              </a:extLst>
            </p:cNvPr>
            <p:cNvSpPr>
              <a:spLocks/>
            </p:cNvSpPr>
            <p:nvPr/>
          </p:nvSpPr>
          <p:spPr bwMode="auto">
            <a:xfrm>
              <a:off x="5410" y="2699"/>
              <a:ext cx="442" cy="470"/>
            </a:xfrm>
            <a:custGeom>
              <a:avLst/>
              <a:gdLst>
                <a:gd name="T0" fmla="*/ 214 w 214"/>
                <a:gd name="T1" fmla="*/ 143 h 227"/>
                <a:gd name="T2" fmla="*/ 131 w 214"/>
                <a:gd name="T3" fmla="*/ 60 h 227"/>
                <a:gd name="T4" fmla="*/ 54 w 214"/>
                <a:gd name="T5" fmla="*/ 109 h 227"/>
                <a:gd name="T6" fmla="*/ 21 w 214"/>
                <a:gd name="T7" fmla="*/ 69 h 227"/>
                <a:gd name="T8" fmla="*/ 61 w 214"/>
                <a:gd name="T9" fmla="*/ 29 h 227"/>
                <a:gd name="T10" fmla="*/ 75 w 214"/>
                <a:gd name="T11" fmla="*/ 31 h 227"/>
                <a:gd name="T12" fmla="*/ 61 w 214"/>
                <a:gd name="T13" fmla="*/ 34 h 227"/>
                <a:gd name="T14" fmla="*/ 57 w 214"/>
                <a:gd name="T15" fmla="*/ 42 h 227"/>
                <a:gd name="T16" fmla="*/ 63 w 214"/>
                <a:gd name="T17" fmla="*/ 46 h 227"/>
                <a:gd name="T18" fmla="*/ 64 w 214"/>
                <a:gd name="T19" fmla="*/ 46 h 227"/>
                <a:gd name="T20" fmla="*/ 93 w 214"/>
                <a:gd name="T21" fmla="*/ 39 h 227"/>
                <a:gd name="T22" fmla="*/ 97 w 214"/>
                <a:gd name="T23" fmla="*/ 36 h 227"/>
                <a:gd name="T24" fmla="*/ 97 w 214"/>
                <a:gd name="T25" fmla="*/ 31 h 227"/>
                <a:gd name="T26" fmla="*/ 83 w 214"/>
                <a:gd name="T27" fmla="*/ 4 h 227"/>
                <a:gd name="T28" fmla="*/ 75 w 214"/>
                <a:gd name="T29" fmla="*/ 2 h 227"/>
                <a:gd name="T30" fmla="*/ 73 w 214"/>
                <a:gd name="T31" fmla="*/ 10 h 227"/>
                <a:gd name="T32" fmla="*/ 78 w 214"/>
                <a:gd name="T33" fmla="*/ 19 h 227"/>
                <a:gd name="T34" fmla="*/ 61 w 214"/>
                <a:gd name="T35" fmla="*/ 17 h 227"/>
                <a:gd name="T36" fmla="*/ 9 w 214"/>
                <a:gd name="T37" fmla="*/ 69 h 227"/>
                <a:gd name="T38" fmla="*/ 50 w 214"/>
                <a:gd name="T39" fmla="*/ 120 h 227"/>
                <a:gd name="T40" fmla="*/ 47 w 214"/>
                <a:gd name="T41" fmla="*/ 143 h 227"/>
                <a:gd name="T42" fmla="*/ 58 w 214"/>
                <a:gd name="T43" fmla="*/ 185 h 227"/>
                <a:gd name="T44" fmla="*/ 48 w 214"/>
                <a:gd name="T45" fmla="*/ 182 h 227"/>
                <a:gd name="T46" fmla="*/ 40 w 214"/>
                <a:gd name="T47" fmla="*/ 186 h 227"/>
                <a:gd name="T48" fmla="*/ 44 w 214"/>
                <a:gd name="T49" fmla="*/ 193 h 227"/>
                <a:gd name="T50" fmla="*/ 72 w 214"/>
                <a:gd name="T51" fmla="*/ 203 h 227"/>
                <a:gd name="T52" fmla="*/ 74 w 214"/>
                <a:gd name="T53" fmla="*/ 203 h 227"/>
                <a:gd name="T54" fmla="*/ 77 w 214"/>
                <a:gd name="T55" fmla="*/ 202 h 227"/>
                <a:gd name="T56" fmla="*/ 80 w 214"/>
                <a:gd name="T57" fmla="*/ 197 h 227"/>
                <a:gd name="T58" fmla="*/ 82 w 214"/>
                <a:gd name="T59" fmla="*/ 167 h 227"/>
                <a:gd name="T60" fmla="*/ 76 w 214"/>
                <a:gd name="T61" fmla="*/ 161 h 227"/>
                <a:gd name="T62" fmla="*/ 70 w 214"/>
                <a:gd name="T63" fmla="*/ 167 h 227"/>
                <a:gd name="T64" fmla="*/ 69 w 214"/>
                <a:gd name="T65" fmla="*/ 181 h 227"/>
                <a:gd name="T66" fmla="*/ 59 w 214"/>
                <a:gd name="T67" fmla="*/ 143 h 227"/>
                <a:gd name="T68" fmla="*/ 131 w 214"/>
                <a:gd name="T69" fmla="*/ 72 h 227"/>
                <a:gd name="T70" fmla="*/ 202 w 214"/>
                <a:gd name="T71" fmla="*/ 143 h 227"/>
                <a:gd name="T72" fmla="*/ 136 w 214"/>
                <a:gd name="T73" fmla="*/ 215 h 227"/>
                <a:gd name="T74" fmla="*/ 135 w 214"/>
                <a:gd name="T75" fmla="*/ 215 h 227"/>
                <a:gd name="T76" fmla="*/ 6 w 214"/>
                <a:gd name="T77" fmla="*/ 215 h 227"/>
                <a:gd name="T78" fmla="*/ 0 w 214"/>
                <a:gd name="T79" fmla="*/ 221 h 227"/>
                <a:gd name="T80" fmla="*/ 6 w 214"/>
                <a:gd name="T81" fmla="*/ 227 h 227"/>
                <a:gd name="T82" fmla="*/ 136 w 214"/>
                <a:gd name="T83" fmla="*/ 227 h 227"/>
                <a:gd name="T84" fmla="*/ 138 w 214"/>
                <a:gd name="T85" fmla="*/ 227 h 227"/>
                <a:gd name="T86" fmla="*/ 214 w 214"/>
                <a:gd name="T87" fmla="*/ 143 h 2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214" h="227">
                  <a:moveTo>
                    <a:pt x="214" y="143"/>
                  </a:moveTo>
                  <a:cubicBezTo>
                    <a:pt x="214" y="97"/>
                    <a:pt x="177" y="60"/>
                    <a:pt x="131" y="60"/>
                  </a:cubicBezTo>
                  <a:cubicBezTo>
                    <a:pt x="97" y="60"/>
                    <a:pt x="68" y="80"/>
                    <a:pt x="54" y="109"/>
                  </a:cubicBezTo>
                  <a:cubicBezTo>
                    <a:pt x="35" y="105"/>
                    <a:pt x="21" y="89"/>
                    <a:pt x="21" y="69"/>
                  </a:cubicBezTo>
                  <a:cubicBezTo>
                    <a:pt x="21" y="47"/>
                    <a:pt x="39" y="29"/>
                    <a:pt x="61" y="29"/>
                  </a:cubicBezTo>
                  <a:cubicBezTo>
                    <a:pt x="66" y="29"/>
                    <a:pt x="71" y="30"/>
                    <a:pt x="75" y="31"/>
                  </a:cubicBezTo>
                  <a:cubicBezTo>
                    <a:pt x="61" y="34"/>
                    <a:pt x="61" y="34"/>
                    <a:pt x="61" y="34"/>
                  </a:cubicBezTo>
                  <a:cubicBezTo>
                    <a:pt x="58" y="35"/>
                    <a:pt x="56" y="38"/>
                    <a:pt x="57" y="42"/>
                  </a:cubicBezTo>
                  <a:cubicBezTo>
                    <a:pt x="58" y="44"/>
                    <a:pt x="60" y="46"/>
                    <a:pt x="63" y="46"/>
                  </a:cubicBezTo>
                  <a:cubicBezTo>
                    <a:pt x="63" y="46"/>
                    <a:pt x="64" y="46"/>
                    <a:pt x="64" y="46"/>
                  </a:cubicBezTo>
                  <a:cubicBezTo>
                    <a:pt x="93" y="39"/>
                    <a:pt x="93" y="39"/>
                    <a:pt x="93" y="39"/>
                  </a:cubicBezTo>
                  <a:cubicBezTo>
                    <a:pt x="95" y="39"/>
                    <a:pt x="96" y="38"/>
                    <a:pt x="97" y="36"/>
                  </a:cubicBezTo>
                  <a:cubicBezTo>
                    <a:pt x="98" y="34"/>
                    <a:pt x="98" y="32"/>
                    <a:pt x="97" y="31"/>
                  </a:cubicBezTo>
                  <a:cubicBezTo>
                    <a:pt x="83" y="4"/>
                    <a:pt x="83" y="4"/>
                    <a:pt x="83" y="4"/>
                  </a:cubicBezTo>
                  <a:cubicBezTo>
                    <a:pt x="82" y="1"/>
                    <a:pt x="78" y="0"/>
                    <a:pt x="75" y="2"/>
                  </a:cubicBezTo>
                  <a:cubicBezTo>
                    <a:pt x="72" y="3"/>
                    <a:pt x="71" y="7"/>
                    <a:pt x="73" y="10"/>
                  </a:cubicBezTo>
                  <a:cubicBezTo>
                    <a:pt x="78" y="19"/>
                    <a:pt x="78" y="19"/>
                    <a:pt x="78" y="19"/>
                  </a:cubicBezTo>
                  <a:cubicBezTo>
                    <a:pt x="72" y="18"/>
                    <a:pt x="67" y="17"/>
                    <a:pt x="61" y="17"/>
                  </a:cubicBezTo>
                  <a:cubicBezTo>
                    <a:pt x="32" y="17"/>
                    <a:pt x="9" y="40"/>
                    <a:pt x="9" y="69"/>
                  </a:cubicBezTo>
                  <a:cubicBezTo>
                    <a:pt x="9" y="94"/>
                    <a:pt x="26" y="115"/>
                    <a:pt x="50" y="120"/>
                  </a:cubicBezTo>
                  <a:cubicBezTo>
                    <a:pt x="48" y="127"/>
                    <a:pt x="47" y="135"/>
                    <a:pt x="47" y="143"/>
                  </a:cubicBezTo>
                  <a:cubicBezTo>
                    <a:pt x="47" y="158"/>
                    <a:pt x="51" y="173"/>
                    <a:pt x="58" y="185"/>
                  </a:cubicBezTo>
                  <a:cubicBezTo>
                    <a:pt x="48" y="182"/>
                    <a:pt x="48" y="182"/>
                    <a:pt x="48" y="182"/>
                  </a:cubicBezTo>
                  <a:cubicBezTo>
                    <a:pt x="44" y="181"/>
                    <a:pt x="41" y="183"/>
                    <a:pt x="40" y="186"/>
                  </a:cubicBezTo>
                  <a:cubicBezTo>
                    <a:pt x="39" y="189"/>
                    <a:pt x="41" y="192"/>
                    <a:pt x="44" y="193"/>
                  </a:cubicBezTo>
                  <a:cubicBezTo>
                    <a:pt x="72" y="203"/>
                    <a:pt x="72" y="203"/>
                    <a:pt x="72" y="203"/>
                  </a:cubicBezTo>
                  <a:cubicBezTo>
                    <a:pt x="73" y="203"/>
                    <a:pt x="73" y="203"/>
                    <a:pt x="74" y="203"/>
                  </a:cubicBezTo>
                  <a:cubicBezTo>
                    <a:pt x="75" y="203"/>
                    <a:pt x="76" y="202"/>
                    <a:pt x="77" y="202"/>
                  </a:cubicBezTo>
                  <a:cubicBezTo>
                    <a:pt x="79" y="201"/>
                    <a:pt x="80" y="199"/>
                    <a:pt x="80" y="197"/>
                  </a:cubicBezTo>
                  <a:cubicBezTo>
                    <a:pt x="82" y="167"/>
                    <a:pt x="82" y="167"/>
                    <a:pt x="82" y="167"/>
                  </a:cubicBezTo>
                  <a:cubicBezTo>
                    <a:pt x="82" y="164"/>
                    <a:pt x="80" y="161"/>
                    <a:pt x="76" y="161"/>
                  </a:cubicBezTo>
                  <a:cubicBezTo>
                    <a:pt x="73" y="161"/>
                    <a:pt x="70" y="163"/>
                    <a:pt x="70" y="167"/>
                  </a:cubicBezTo>
                  <a:cubicBezTo>
                    <a:pt x="69" y="181"/>
                    <a:pt x="69" y="181"/>
                    <a:pt x="69" y="181"/>
                  </a:cubicBezTo>
                  <a:cubicBezTo>
                    <a:pt x="62" y="169"/>
                    <a:pt x="59" y="157"/>
                    <a:pt x="59" y="143"/>
                  </a:cubicBezTo>
                  <a:cubicBezTo>
                    <a:pt x="59" y="104"/>
                    <a:pt x="91" y="72"/>
                    <a:pt x="131" y="72"/>
                  </a:cubicBezTo>
                  <a:cubicBezTo>
                    <a:pt x="170" y="72"/>
                    <a:pt x="202" y="104"/>
                    <a:pt x="202" y="143"/>
                  </a:cubicBezTo>
                  <a:cubicBezTo>
                    <a:pt x="202" y="181"/>
                    <a:pt x="173" y="212"/>
                    <a:pt x="136" y="215"/>
                  </a:cubicBezTo>
                  <a:cubicBezTo>
                    <a:pt x="135" y="215"/>
                    <a:pt x="135" y="215"/>
                    <a:pt x="135" y="215"/>
                  </a:cubicBezTo>
                  <a:cubicBezTo>
                    <a:pt x="6" y="215"/>
                    <a:pt x="6" y="215"/>
                    <a:pt x="6" y="215"/>
                  </a:cubicBezTo>
                  <a:cubicBezTo>
                    <a:pt x="3" y="215"/>
                    <a:pt x="0" y="218"/>
                    <a:pt x="0" y="221"/>
                  </a:cubicBezTo>
                  <a:cubicBezTo>
                    <a:pt x="0" y="225"/>
                    <a:pt x="3" y="227"/>
                    <a:pt x="6" y="227"/>
                  </a:cubicBezTo>
                  <a:cubicBezTo>
                    <a:pt x="136" y="227"/>
                    <a:pt x="136" y="227"/>
                    <a:pt x="136" y="227"/>
                  </a:cubicBezTo>
                  <a:cubicBezTo>
                    <a:pt x="137" y="227"/>
                    <a:pt x="138" y="227"/>
                    <a:pt x="138" y="227"/>
                  </a:cubicBezTo>
                  <a:cubicBezTo>
                    <a:pt x="181" y="223"/>
                    <a:pt x="214" y="187"/>
                    <a:pt x="214" y="14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63" name="Freeform 21">
              <a:extLst>
                <a:ext uri="{FF2B5EF4-FFF2-40B4-BE49-F238E27FC236}">
                  <a16:creationId xmlns:a16="http://schemas.microsoft.com/office/drawing/2014/main" id="{BB184EAB-4775-56A5-C95D-2D89F47C28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769" y="3144"/>
              <a:ext cx="118" cy="25"/>
            </a:xfrm>
            <a:custGeom>
              <a:avLst/>
              <a:gdLst>
                <a:gd name="T0" fmla="*/ 51 w 57"/>
                <a:gd name="T1" fmla="*/ 0 h 12"/>
                <a:gd name="T2" fmla="*/ 6 w 57"/>
                <a:gd name="T3" fmla="*/ 0 h 12"/>
                <a:gd name="T4" fmla="*/ 0 w 57"/>
                <a:gd name="T5" fmla="*/ 6 h 12"/>
                <a:gd name="T6" fmla="*/ 6 w 57"/>
                <a:gd name="T7" fmla="*/ 12 h 12"/>
                <a:gd name="T8" fmla="*/ 51 w 57"/>
                <a:gd name="T9" fmla="*/ 12 h 12"/>
                <a:gd name="T10" fmla="*/ 57 w 57"/>
                <a:gd name="T11" fmla="*/ 6 h 12"/>
                <a:gd name="T12" fmla="*/ 51 w 57"/>
                <a:gd name="T13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7" h="12">
                  <a:moveTo>
                    <a:pt x="51" y="0"/>
                  </a:moveTo>
                  <a:cubicBezTo>
                    <a:pt x="6" y="0"/>
                    <a:pt x="6" y="0"/>
                    <a:pt x="6" y="0"/>
                  </a:cubicBezTo>
                  <a:cubicBezTo>
                    <a:pt x="3" y="0"/>
                    <a:pt x="0" y="3"/>
                    <a:pt x="0" y="6"/>
                  </a:cubicBezTo>
                  <a:cubicBezTo>
                    <a:pt x="0" y="10"/>
                    <a:pt x="3" y="12"/>
                    <a:pt x="6" y="12"/>
                  </a:cubicBezTo>
                  <a:cubicBezTo>
                    <a:pt x="51" y="12"/>
                    <a:pt x="51" y="12"/>
                    <a:pt x="51" y="12"/>
                  </a:cubicBezTo>
                  <a:cubicBezTo>
                    <a:pt x="55" y="12"/>
                    <a:pt x="57" y="10"/>
                    <a:pt x="57" y="6"/>
                  </a:cubicBezTo>
                  <a:cubicBezTo>
                    <a:pt x="57" y="3"/>
                    <a:pt x="55" y="0"/>
                    <a:pt x="51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</p:grpSp>
      <p:grpSp>
        <p:nvGrpSpPr>
          <p:cNvPr id="78" name="Group 141">
            <a:extLst>
              <a:ext uri="{FF2B5EF4-FFF2-40B4-BE49-F238E27FC236}">
                <a16:creationId xmlns:a16="http://schemas.microsoft.com/office/drawing/2014/main" id="{1DA9B188-BC3B-CCD4-FF29-DEFAE9A2A09F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1279707" y="2561452"/>
            <a:ext cx="355164" cy="355996"/>
            <a:chOff x="2400" y="1716"/>
            <a:chExt cx="427" cy="428"/>
          </a:xfrm>
          <a:solidFill>
            <a:schemeClr val="tx1"/>
          </a:solidFill>
        </p:grpSpPr>
        <p:sp>
          <p:nvSpPr>
            <p:cNvPr id="66" name="Freeform 142">
              <a:extLst>
                <a:ext uri="{FF2B5EF4-FFF2-40B4-BE49-F238E27FC236}">
                  <a16:creationId xmlns:a16="http://schemas.microsoft.com/office/drawing/2014/main" id="{861BE733-5012-1C82-593F-7665B4EDF0E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596" y="1913"/>
              <a:ext cx="231" cy="231"/>
            </a:xfrm>
            <a:custGeom>
              <a:avLst/>
              <a:gdLst>
                <a:gd name="T0" fmla="*/ 78 w 156"/>
                <a:gd name="T1" fmla="*/ 156 h 156"/>
                <a:gd name="T2" fmla="*/ 0 w 156"/>
                <a:gd name="T3" fmla="*/ 78 h 156"/>
                <a:gd name="T4" fmla="*/ 78 w 156"/>
                <a:gd name="T5" fmla="*/ 0 h 156"/>
                <a:gd name="T6" fmla="*/ 156 w 156"/>
                <a:gd name="T7" fmla="*/ 78 h 156"/>
                <a:gd name="T8" fmla="*/ 78 w 156"/>
                <a:gd name="T9" fmla="*/ 156 h 156"/>
                <a:gd name="T10" fmla="*/ 78 w 156"/>
                <a:gd name="T11" fmla="*/ 12 h 156"/>
                <a:gd name="T12" fmla="*/ 12 w 156"/>
                <a:gd name="T13" fmla="*/ 78 h 156"/>
                <a:gd name="T14" fmla="*/ 78 w 156"/>
                <a:gd name="T15" fmla="*/ 144 h 156"/>
                <a:gd name="T16" fmla="*/ 144 w 156"/>
                <a:gd name="T17" fmla="*/ 78 h 156"/>
                <a:gd name="T18" fmla="*/ 78 w 156"/>
                <a:gd name="T19" fmla="*/ 12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56" h="156">
                  <a:moveTo>
                    <a:pt x="78" y="156"/>
                  </a:moveTo>
                  <a:cubicBezTo>
                    <a:pt x="35" y="156"/>
                    <a:pt x="0" y="121"/>
                    <a:pt x="0" y="78"/>
                  </a:cubicBezTo>
                  <a:cubicBezTo>
                    <a:pt x="0" y="35"/>
                    <a:pt x="35" y="0"/>
                    <a:pt x="78" y="0"/>
                  </a:cubicBezTo>
                  <a:cubicBezTo>
                    <a:pt x="121" y="0"/>
                    <a:pt x="156" y="35"/>
                    <a:pt x="156" y="78"/>
                  </a:cubicBezTo>
                  <a:cubicBezTo>
                    <a:pt x="156" y="121"/>
                    <a:pt x="121" y="156"/>
                    <a:pt x="78" y="156"/>
                  </a:cubicBezTo>
                  <a:close/>
                  <a:moveTo>
                    <a:pt x="78" y="12"/>
                  </a:moveTo>
                  <a:cubicBezTo>
                    <a:pt x="42" y="12"/>
                    <a:pt x="12" y="41"/>
                    <a:pt x="12" y="78"/>
                  </a:cubicBezTo>
                  <a:cubicBezTo>
                    <a:pt x="12" y="114"/>
                    <a:pt x="42" y="144"/>
                    <a:pt x="78" y="144"/>
                  </a:cubicBezTo>
                  <a:cubicBezTo>
                    <a:pt x="114" y="144"/>
                    <a:pt x="144" y="114"/>
                    <a:pt x="144" y="78"/>
                  </a:cubicBezTo>
                  <a:cubicBezTo>
                    <a:pt x="144" y="41"/>
                    <a:pt x="114" y="12"/>
                    <a:pt x="78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4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67" name="Freeform 143">
              <a:extLst>
                <a:ext uri="{FF2B5EF4-FFF2-40B4-BE49-F238E27FC236}">
                  <a16:creationId xmlns:a16="http://schemas.microsoft.com/office/drawing/2014/main" id="{03EA49E1-C756-C8C8-DDFC-9157D977080B}"/>
                </a:ext>
              </a:extLst>
            </p:cNvPr>
            <p:cNvSpPr>
              <a:spLocks/>
            </p:cNvSpPr>
            <p:nvPr/>
          </p:nvSpPr>
          <p:spPr bwMode="auto">
            <a:xfrm>
              <a:off x="2647" y="1992"/>
              <a:ext cx="128" cy="87"/>
            </a:xfrm>
            <a:custGeom>
              <a:avLst/>
              <a:gdLst>
                <a:gd name="T0" fmla="*/ 37 w 86"/>
                <a:gd name="T1" fmla="*/ 59 h 59"/>
                <a:gd name="T2" fmla="*/ 33 w 86"/>
                <a:gd name="T3" fmla="*/ 57 h 59"/>
                <a:gd name="T4" fmla="*/ 3 w 86"/>
                <a:gd name="T5" fmla="*/ 27 h 59"/>
                <a:gd name="T6" fmla="*/ 3 w 86"/>
                <a:gd name="T7" fmla="*/ 19 h 59"/>
                <a:gd name="T8" fmla="*/ 11 w 86"/>
                <a:gd name="T9" fmla="*/ 19 h 59"/>
                <a:gd name="T10" fmla="*/ 37 w 86"/>
                <a:gd name="T11" fmla="*/ 44 h 59"/>
                <a:gd name="T12" fmla="*/ 75 w 86"/>
                <a:gd name="T13" fmla="*/ 3 h 59"/>
                <a:gd name="T14" fmla="*/ 83 w 86"/>
                <a:gd name="T15" fmla="*/ 2 h 59"/>
                <a:gd name="T16" fmla="*/ 83 w 86"/>
                <a:gd name="T17" fmla="*/ 11 h 59"/>
                <a:gd name="T18" fmla="*/ 41 w 86"/>
                <a:gd name="T19" fmla="*/ 57 h 59"/>
                <a:gd name="T20" fmla="*/ 37 w 86"/>
                <a:gd name="T21" fmla="*/ 59 h 59"/>
                <a:gd name="T22" fmla="*/ 37 w 86"/>
                <a:gd name="T23" fmla="*/ 59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86" h="59">
                  <a:moveTo>
                    <a:pt x="37" y="59"/>
                  </a:moveTo>
                  <a:cubicBezTo>
                    <a:pt x="35" y="59"/>
                    <a:pt x="34" y="58"/>
                    <a:pt x="33" y="57"/>
                  </a:cubicBezTo>
                  <a:cubicBezTo>
                    <a:pt x="3" y="27"/>
                    <a:pt x="3" y="27"/>
                    <a:pt x="3" y="27"/>
                  </a:cubicBezTo>
                  <a:cubicBezTo>
                    <a:pt x="0" y="25"/>
                    <a:pt x="0" y="21"/>
                    <a:pt x="3" y="19"/>
                  </a:cubicBezTo>
                  <a:cubicBezTo>
                    <a:pt x="5" y="16"/>
                    <a:pt x="9" y="16"/>
                    <a:pt x="11" y="19"/>
                  </a:cubicBezTo>
                  <a:cubicBezTo>
                    <a:pt x="37" y="44"/>
                    <a:pt x="37" y="44"/>
                    <a:pt x="37" y="44"/>
                  </a:cubicBezTo>
                  <a:cubicBezTo>
                    <a:pt x="75" y="3"/>
                    <a:pt x="75" y="3"/>
                    <a:pt x="75" y="3"/>
                  </a:cubicBezTo>
                  <a:cubicBezTo>
                    <a:pt x="77" y="0"/>
                    <a:pt x="81" y="0"/>
                    <a:pt x="83" y="2"/>
                  </a:cubicBezTo>
                  <a:cubicBezTo>
                    <a:pt x="86" y="5"/>
                    <a:pt x="86" y="8"/>
                    <a:pt x="83" y="11"/>
                  </a:cubicBezTo>
                  <a:cubicBezTo>
                    <a:pt x="41" y="57"/>
                    <a:pt x="41" y="57"/>
                    <a:pt x="41" y="57"/>
                  </a:cubicBezTo>
                  <a:cubicBezTo>
                    <a:pt x="40" y="58"/>
                    <a:pt x="39" y="59"/>
                    <a:pt x="37" y="59"/>
                  </a:cubicBezTo>
                  <a:cubicBezTo>
                    <a:pt x="37" y="59"/>
                    <a:pt x="37" y="59"/>
                    <a:pt x="37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4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68" name="Freeform 144">
              <a:extLst>
                <a:ext uri="{FF2B5EF4-FFF2-40B4-BE49-F238E27FC236}">
                  <a16:creationId xmlns:a16="http://schemas.microsoft.com/office/drawing/2014/main" id="{11BFE6EE-E730-809A-3946-D131BDB7DFD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00" y="1716"/>
              <a:ext cx="391" cy="143"/>
            </a:xfrm>
            <a:custGeom>
              <a:avLst/>
              <a:gdLst>
                <a:gd name="T0" fmla="*/ 246 w 264"/>
                <a:gd name="T1" fmla="*/ 96 h 96"/>
                <a:gd name="T2" fmla="*/ 18 w 264"/>
                <a:gd name="T3" fmla="*/ 96 h 96"/>
                <a:gd name="T4" fmla="*/ 0 w 264"/>
                <a:gd name="T5" fmla="*/ 78 h 96"/>
                <a:gd name="T6" fmla="*/ 0 w 264"/>
                <a:gd name="T7" fmla="*/ 18 h 96"/>
                <a:gd name="T8" fmla="*/ 18 w 264"/>
                <a:gd name="T9" fmla="*/ 0 h 96"/>
                <a:gd name="T10" fmla="*/ 246 w 264"/>
                <a:gd name="T11" fmla="*/ 0 h 96"/>
                <a:gd name="T12" fmla="*/ 264 w 264"/>
                <a:gd name="T13" fmla="*/ 18 h 96"/>
                <a:gd name="T14" fmla="*/ 264 w 264"/>
                <a:gd name="T15" fmla="*/ 78 h 96"/>
                <a:gd name="T16" fmla="*/ 246 w 264"/>
                <a:gd name="T17" fmla="*/ 96 h 96"/>
                <a:gd name="T18" fmla="*/ 18 w 264"/>
                <a:gd name="T19" fmla="*/ 12 h 96"/>
                <a:gd name="T20" fmla="*/ 12 w 264"/>
                <a:gd name="T21" fmla="*/ 18 h 96"/>
                <a:gd name="T22" fmla="*/ 12 w 264"/>
                <a:gd name="T23" fmla="*/ 78 h 96"/>
                <a:gd name="T24" fmla="*/ 18 w 264"/>
                <a:gd name="T25" fmla="*/ 84 h 96"/>
                <a:gd name="T26" fmla="*/ 246 w 264"/>
                <a:gd name="T27" fmla="*/ 84 h 96"/>
                <a:gd name="T28" fmla="*/ 252 w 264"/>
                <a:gd name="T29" fmla="*/ 78 h 96"/>
                <a:gd name="T30" fmla="*/ 252 w 264"/>
                <a:gd name="T31" fmla="*/ 18 h 96"/>
                <a:gd name="T32" fmla="*/ 246 w 264"/>
                <a:gd name="T33" fmla="*/ 12 h 96"/>
                <a:gd name="T34" fmla="*/ 18 w 264"/>
                <a:gd name="T35" fmla="*/ 12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64" h="96">
                  <a:moveTo>
                    <a:pt x="246" y="96"/>
                  </a:moveTo>
                  <a:cubicBezTo>
                    <a:pt x="18" y="96"/>
                    <a:pt x="18" y="96"/>
                    <a:pt x="18" y="96"/>
                  </a:cubicBezTo>
                  <a:cubicBezTo>
                    <a:pt x="8" y="96"/>
                    <a:pt x="0" y="88"/>
                    <a:pt x="0" y="78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0" y="9"/>
                    <a:pt x="8" y="0"/>
                    <a:pt x="18" y="0"/>
                  </a:cubicBezTo>
                  <a:cubicBezTo>
                    <a:pt x="246" y="0"/>
                    <a:pt x="246" y="0"/>
                    <a:pt x="246" y="0"/>
                  </a:cubicBezTo>
                  <a:cubicBezTo>
                    <a:pt x="256" y="0"/>
                    <a:pt x="264" y="9"/>
                    <a:pt x="264" y="18"/>
                  </a:cubicBezTo>
                  <a:cubicBezTo>
                    <a:pt x="264" y="78"/>
                    <a:pt x="264" y="78"/>
                    <a:pt x="264" y="78"/>
                  </a:cubicBezTo>
                  <a:cubicBezTo>
                    <a:pt x="264" y="88"/>
                    <a:pt x="256" y="96"/>
                    <a:pt x="246" y="96"/>
                  </a:cubicBezTo>
                  <a:close/>
                  <a:moveTo>
                    <a:pt x="18" y="12"/>
                  </a:moveTo>
                  <a:cubicBezTo>
                    <a:pt x="15" y="12"/>
                    <a:pt x="12" y="15"/>
                    <a:pt x="12" y="18"/>
                  </a:cubicBezTo>
                  <a:cubicBezTo>
                    <a:pt x="12" y="78"/>
                    <a:pt x="12" y="78"/>
                    <a:pt x="12" y="78"/>
                  </a:cubicBezTo>
                  <a:cubicBezTo>
                    <a:pt x="12" y="82"/>
                    <a:pt x="15" y="84"/>
                    <a:pt x="18" y="84"/>
                  </a:cubicBezTo>
                  <a:cubicBezTo>
                    <a:pt x="246" y="84"/>
                    <a:pt x="246" y="84"/>
                    <a:pt x="246" y="84"/>
                  </a:cubicBezTo>
                  <a:cubicBezTo>
                    <a:pt x="249" y="84"/>
                    <a:pt x="252" y="82"/>
                    <a:pt x="252" y="78"/>
                  </a:cubicBezTo>
                  <a:cubicBezTo>
                    <a:pt x="252" y="18"/>
                    <a:pt x="252" y="18"/>
                    <a:pt x="252" y="18"/>
                  </a:cubicBezTo>
                  <a:cubicBezTo>
                    <a:pt x="252" y="15"/>
                    <a:pt x="249" y="12"/>
                    <a:pt x="246" y="12"/>
                  </a:cubicBezTo>
                  <a:lnTo>
                    <a:pt x="18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4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69" name="Freeform 145">
              <a:extLst>
                <a:ext uri="{FF2B5EF4-FFF2-40B4-BE49-F238E27FC236}">
                  <a16:creationId xmlns:a16="http://schemas.microsoft.com/office/drawing/2014/main" id="{8EECD2FF-5FA6-4860-5058-09CB301B7201}"/>
                </a:ext>
              </a:extLst>
            </p:cNvPr>
            <p:cNvSpPr>
              <a:spLocks/>
            </p:cNvSpPr>
            <p:nvPr/>
          </p:nvSpPr>
          <p:spPr bwMode="auto">
            <a:xfrm>
              <a:off x="2534" y="1805"/>
              <a:ext cx="195" cy="18"/>
            </a:xfrm>
            <a:custGeom>
              <a:avLst/>
              <a:gdLst>
                <a:gd name="T0" fmla="*/ 126 w 132"/>
                <a:gd name="T1" fmla="*/ 12 h 12"/>
                <a:gd name="T2" fmla="*/ 6 w 132"/>
                <a:gd name="T3" fmla="*/ 12 h 12"/>
                <a:gd name="T4" fmla="*/ 0 w 132"/>
                <a:gd name="T5" fmla="*/ 6 h 12"/>
                <a:gd name="T6" fmla="*/ 6 w 132"/>
                <a:gd name="T7" fmla="*/ 0 h 12"/>
                <a:gd name="T8" fmla="*/ 126 w 132"/>
                <a:gd name="T9" fmla="*/ 0 h 12"/>
                <a:gd name="T10" fmla="*/ 132 w 132"/>
                <a:gd name="T11" fmla="*/ 6 h 12"/>
                <a:gd name="T12" fmla="*/ 126 w 132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2" h="12">
                  <a:moveTo>
                    <a:pt x="126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10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126" y="0"/>
                    <a:pt x="126" y="0"/>
                    <a:pt x="126" y="0"/>
                  </a:cubicBezTo>
                  <a:cubicBezTo>
                    <a:pt x="129" y="0"/>
                    <a:pt x="132" y="3"/>
                    <a:pt x="132" y="6"/>
                  </a:cubicBezTo>
                  <a:cubicBezTo>
                    <a:pt x="132" y="10"/>
                    <a:pt x="129" y="12"/>
                    <a:pt x="126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4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70" name="Freeform 146">
              <a:extLst>
                <a:ext uri="{FF2B5EF4-FFF2-40B4-BE49-F238E27FC236}">
                  <a16:creationId xmlns:a16="http://schemas.microsoft.com/office/drawing/2014/main" id="{16856DD4-7E80-D8DC-A1FC-6EF0AE94EA9D}"/>
                </a:ext>
              </a:extLst>
            </p:cNvPr>
            <p:cNvSpPr>
              <a:spLocks/>
            </p:cNvSpPr>
            <p:nvPr/>
          </p:nvSpPr>
          <p:spPr bwMode="auto">
            <a:xfrm>
              <a:off x="2534" y="1770"/>
              <a:ext cx="195" cy="17"/>
            </a:xfrm>
            <a:custGeom>
              <a:avLst/>
              <a:gdLst>
                <a:gd name="T0" fmla="*/ 126 w 132"/>
                <a:gd name="T1" fmla="*/ 12 h 12"/>
                <a:gd name="T2" fmla="*/ 6 w 132"/>
                <a:gd name="T3" fmla="*/ 12 h 12"/>
                <a:gd name="T4" fmla="*/ 0 w 132"/>
                <a:gd name="T5" fmla="*/ 6 h 12"/>
                <a:gd name="T6" fmla="*/ 6 w 132"/>
                <a:gd name="T7" fmla="*/ 0 h 12"/>
                <a:gd name="T8" fmla="*/ 126 w 132"/>
                <a:gd name="T9" fmla="*/ 0 h 12"/>
                <a:gd name="T10" fmla="*/ 132 w 132"/>
                <a:gd name="T11" fmla="*/ 6 h 12"/>
                <a:gd name="T12" fmla="*/ 126 w 132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2" h="12">
                  <a:moveTo>
                    <a:pt x="126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10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126" y="0"/>
                    <a:pt x="126" y="0"/>
                    <a:pt x="126" y="0"/>
                  </a:cubicBezTo>
                  <a:cubicBezTo>
                    <a:pt x="129" y="0"/>
                    <a:pt x="132" y="3"/>
                    <a:pt x="132" y="6"/>
                  </a:cubicBezTo>
                  <a:cubicBezTo>
                    <a:pt x="132" y="10"/>
                    <a:pt x="129" y="12"/>
                    <a:pt x="126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4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71" name="Freeform 147">
              <a:extLst>
                <a:ext uri="{FF2B5EF4-FFF2-40B4-BE49-F238E27FC236}">
                  <a16:creationId xmlns:a16="http://schemas.microsoft.com/office/drawing/2014/main" id="{681567E4-C7AF-A52E-B3CF-942F46318DF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45" y="1761"/>
              <a:ext cx="53" cy="53"/>
            </a:xfrm>
            <a:custGeom>
              <a:avLst/>
              <a:gdLst>
                <a:gd name="T0" fmla="*/ 18 w 36"/>
                <a:gd name="T1" fmla="*/ 36 h 36"/>
                <a:gd name="T2" fmla="*/ 0 w 36"/>
                <a:gd name="T3" fmla="*/ 18 h 36"/>
                <a:gd name="T4" fmla="*/ 18 w 36"/>
                <a:gd name="T5" fmla="*/ 0 h 36"/>
                <a:gd name="T6" fmla="*/ 36 w 36"/>
                <a:gd name="T7" fmla="*/ 18 h 36"/>
                <a:gd name="T8" fmla="*/ 18 w 36"/>
                <a:gd name="T9" fmla="*/ 36 h 36"/>
                <a:gd name="T10" fmla="*/ 18 w 36"/>
                <a:gd name="T11" fmla="*/ 12 h 36"/>
                <a:gd name="T12" fmla="*/ 12 w 36"/>
                <a:gd name="T13" fmla="*/ 18 h 36"/>
                <a:gd name="T14" fmla="*/ 18 w 36"/>
                <a:gd name="T15" fmla="*/ 24 h 36"/>
                <a:gd name="T16" fmla="*/ 24 w 36"/>
                <a:gd name="T17" fmla="*/ 18 h 36"/>
                <a:gd name="T18" fmla="*/ 18 w 36"/>
                <a:gd name="T19" fmla="*/ 12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6" h="36">
                  <a:moveTo>
                    <a:pt x="18" y="36"/>
                  </a:moveTo>
                  <a:cubicBezTo>
                    <a:pt x="8" y="36"/>
                    <a:pt x="0" y="28"/>
                    <a:pt x="0" y="18"/>
                  </a:cubicBezTo>
                  <a:cubicBezTo>
                    <a:pt x="0" y="9"/>
                    <a:pt x="8" y="0"/>
                    <a:pt x="18" y="0"/>
                  </a:cubicBezTo>
                  <a:cubicBezTo>
                    <a:pt x="28" y="0"/>
                    <a:pt x="36" y="9"/>
                    <a:pt x="36" y="18"/>
                  </a:cubicBezTo>
                  <a:cubicBezTo>
                    <a:pt x="36" y="28"/>
                    <a:pt x="28" y="36"/>
                    <a:pt x="18" y="36"/>
                  </a:cubicBezTo>
                  <a:close/>
                  <a:moveTo>
                    <a:pt x="18" y="12"/>
                  </a:moveTo>
                  <a:cubicBezTo>
                    <a:pt x="15" y="12"/>
                    <a:pt x="12" y="15"/>
                    <a:pt x="12" y="18"/>
                  </a:cubicBezTo>
                  <a:cubicBezTo>
                    <a:pt x="12" y="22"/>
                    <a:pt x="15" y="24"/>
                    <a:pt x="18" y="24"/>
                  </a:cubicBezTo>
                  <a:cubicBezTo>
                    <a:pt x="21" y="24"/>
                    <a:pt x="24" y="22"/>
                    <a:pt x="24" y="18"/>
                  </a:cubicBezTo>
                  <a:cubicBezTo>
                    <a:pt x="24" y="15"/>
                    <a:pt x="21" y="12"/>
                    <a:pt x="18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4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72" name="Freeform 148">
              <a:extLst>
                <a:ext uri="{FF2B5EF4-FFF2-40B4-BE49-F238E27FC236}">
                  <a16:creationId xmlns:a16="http://schemas.microsoft.com/office/drawing/2014/main" id="{BCC3CF2A-6BD9-824F-6C06-1F1D98014B76}"/>
                </a:ext>
              </a:extLst>
            </p:cNvPr>
            <p:cNvSpPr>
              <a:spLocks/>
            </p:cNvSpPr>
            <p:nvPr/>
          </p:nvSpPr>
          <p:spPr bwMode="auto">
            <a:xfrm>
              <a:off x="2400" y="1841"/>
              <a:ext cx="391" cy="142"/>
            </a:xfrm>
            <a:custGeom>
              <a:avLst/>
              <a:gdLst>
                <a:gd name="T0" fmla="*/ 108 w 264"/>
                <a:gd name="T1" fmla="*/ 96 h 96"/>
                <a:gd name="T2" fmla="*/ 18 w 264"/>
                <a:gd name="T3" fmla="*/ 96 h 96"/>
                <a:gd name="T4" fmla="*/ 0 w 264"/>
                <a:gd name="T5" fmla="*/ 78 h 96"/>
                <a:gd name="T6" fmla="*/ 0 w 264"/>
                <a:gd name="T7" fmla="*/ 18 h 96"/>
                <a:gd name="T8" fmla="*/ 18 w 264"/>
                <a:gd name="T9" fmla="*/ 0 h 96"/>
                <a:gd name="T10" fmla="*/ 246 w 264"/>
                <a:gd name="T11" fmla="*/ 0 h 96"/>
                <a:gd name="T12" fmla="*/ 264 w 264"/>
                <a:gd name="T13" fmla="*/ 18 h 96"/>
                <a:gd name="T14" fmla="*/ 264 w 264"/>
                <a:gd name="T15" fmla="*/ 36 h 96"/>
                <a:gd name="T16" fmla="*/ 258 w 264"/>
                <a:gd name="T17" fmla="*/ 42 h 96"/>
                <a:gd name="T18" fmla="*/ 252 w 264"/>
                <a:gd name="T19" fmla="*/ 36 h 96"/>
                <a:gd name="T20" fmla="*/ 252 w 264"/>
                <a:gd name="T21" fmla="*/ 18 h 96"/>
                <a:gd name="T22" fmla="*/ 246 w 264"/>
                <a:gd name="T23" fmla="*/ 12 h 96"/>
                <a:gd name="T24" fmla="*/ 18 w 264"/>
                <a:gd name="T25" fmla="*/ 12 h 96"/>
                <a:gd name="T26" fmla="*/ 12 w 264"/>
                <a:gd name="T27" fmla="*/ 18 h 96"/>
                <a:gd name="T28" fmla="*/ 12 w 264"/>
                <a:gd name="T29" fmla="*/ 78 h 96"/>
                <a:gd name="T30" fmla="*/ 18 w 264"/>
                <a:gd name="T31" fmla="*/ 84 h 96"/>
                <a:gd name="T32" fmla="*/ 108 w 264"/>
                <a:gd name="T33" fmla="*/ 84 h 96"/>
                <a:gd name="T34" fmla="*/ 114 w 264"/>
                <a:gd name="T35" fmla="*/ 90 h 96"/>
                <a:gd name="T36" fmla="*/ 108 w 264"/>
                <a:gd name="T37" fmla="*/ 96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4" h="96">
                  <a:moveTo>
                    <a:pt x="108" y="96"/>
                  </a:moveTo>
                  <a:cubicBezTo>
                    <a:pt x="18" y="96"/>
                    <a:pt x="18" y="96"/>
                    <a:pt x="18" y="96"/>
                  </a:cubicBezTo>
                  <a:cubicBezTo>
                    <a:pt x="8" y="96"/>
                    <a:pt x="0" y="88"/>
                    <a:pt x="0" y="78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0" y="9"/>
                    <a:pt x="8" y="0"/>
                    <a:pt x="18" y="0"/>
                  </a:cubicBezTo>
                  <a:cubicBezTo>
                    <a:pt x="246" y="0"/>
                    <a:pt x="246" y="0"/>
                    <a:pt x="246" y="0"/>
                  </a:cubicBezTo>
                  <a:cubicBezTo>
                    <a:pt x="256" y="0"/>
                    <a:pt x="264" y="9"/>
                    <a:pt x="264" y="18"/>
                  </a:cubicBezTo>
                  <a:cubicBezTo>
                    <a:pt x="264" y="36"/>
                    <a:pt x="264" y="36"/>
                    <a:pt x="264" y="36"/>
                  </a:cubicBezTo>
                  <a:cubicBezTo>
                    <a:pt x="264" y="40"/>
                    <a:pt x="261" y="42"/>
                    <a:pt x="258" y="42"/>
                  </a:cubicBezTo>
                  <a:cubicBezTo>
                    <a:pt x="255" y="42"/>
                    <a:pt x="252" y="40"/>
                    <a:pt x="252" y="36"/>
                  </a:cubicBezTo>
                  <a:cubicBezTo>
                    <a:pt x="252" y="18"/>
                    <a:pt x="252" y="18"/>
                    <a:pt x="252" y="18"/>
                  </a:cubicBezTo>
                  <a:cubicBezTo>
                    <a:pt x="252" y="15"/>
                    <a:pt x="249" y="12"/>
                    <a:pt x="246" y="12"/>
                  </a:cubicBezTo>
                  <a:cubicBezTo>
                    <a:pt x="18" y="12"/>
                    <a:pt x="18" y="12"/>
                    <a:pt x="18" y="12"/>
                  </a:cubicBezTo>
                  <a:cubicBezTo>
                    <a:pt x="15" y="12"/>
                    <a:pt x="12" y="15"/>
                    <a:pt x="12" y="18"/>
                  </a:cubicBezTo>
                  <a:cubicBezTo>
                    <a:pt x="12" y="78"/>
                    <a:pt x="12" y="78"/>
                    <a:pt x="12" y="78"/>
                  </a:cubicBezTo>
                  <a:cubicBezTo>
                    <a:pt x="12" y="82"/>
                    <a:pt x="15" y="84"/>
                    <a:pt x="18" y="84"/>
                  </a:cubicBezTo>
                  <a:cubicBezTo>
                    <a:pt x="108" y="84"/>
                    <a:pt x="108" y="84"/>
                    <a:pt x="108" y="84"/>
                  </a:cubicBezTo>
                  <a:cubicBezTo>
                    <a:pt x="111" y="84"/>
                    <a:pt x="114" y="87"/>
                    <a:pt x="114" y="90"/>
                  </a:cubicBezTo>
                  <a:cubicBezTo>
                    <a:pt x="114" y="94"/>
                    <a:pt x="111" y="96"/>
                    <a:pt x="108" y="9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4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73" name="Freeform 149">
              <a:extLst>
                <a:ext uri="{FF2B5EF4-FFF2-40B4-BE49-F238E27FC236}">
                  <a16:creationId xmlns:a16="http://schemas.microsoft.com/office/drawing/2014/main" id="{9D95B53A-B9FF-F6FD-D4A8-E7663729BB00}"/>
                </a:ext>
              </a:extLst>
            </p:cNvPr>
            <p:cNvSpPr>
              <a:spLocks/>
            </p:cNvSpPr>
            <p:nvPr/>
          </p:nvSpPr>
          <p:spPr bwMode="auto">
            <a:xfrm>
              <a:off x="2534" y="1930"/>
              <a:ext cx="53" cy="17"/>
            </a:xfrm>
            <a:custGeom>
              <a:avLst/>
              <a:gdLst>
                <a:gd name="T0" fmla="*/ 30 w 36"/>
                <a:gd name="T1" fmla="*/ 12 h 12"/>
                <a:gd name="T2" fmla="*/ 6 w 36"/>
                <a:gd name="T3" fmla="*/ 12 h 12"/>
                <a:gd name="T4" fmla="*/ 0 w 36"/>
                <a:gd name="T5" fmla="*/ 6 h 12"/>
                <a:gd name="T6" fmla="*/ 6 w 36"/>
                <a:gd name="T7" fmla="*/ 0 h 12"/>
                <a:gd name="T8" fmla="*/ 30 w 36"/>
                <a:gd name="T9" fmla="*/ 0 h 12"/>
                <a:gd name="T10" fmla="*/ 36 w 36"/>
                <a:gd name="T11" fmla="*/ 6 h 12"/>
                <a:gd name="T12" fmla="*/ 30 w 36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6" h="12">
                  <a:moveTo>
                    <a:pt x="30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10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30" y="0"/>
                    <a:pt x="30" y="0"/>
                    <a:pt x="30" y="0"/>
                  </a:cubicBezTo>
                  <a:cubicBezTo>
                    <a:pt x="33" y="0"/>
                    <a:pt x="36" y="3"/>
                    <a:pt x="36" y="6"/>
                  </a:cubicBezTo>
                  <a:cubicBezTo>
                    <a:pt x="36" y="10"/>
                    <a:pt x="33" y="12"/>
                    <a:pt x="30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4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74" name="Freeform 150">
              <a:extLst>
                <a:ext uri="{FF2B5EF4-FFF2-40B4-BE49-F238E27FC236}">
                  <a16:creationId xmlns:a16="http://schemas.microsoft.com/office/drawing/2014/main" id="{864714F7-6D21-ECEE-9AEB-7F1F5F483FD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34" y="1894"/>
              <a:ext cx="71" cy="18"/>
            </a:xfrm>
            <a:custGeom>
              <a:avLst/>
              <a:gdLst>
                <a:gd name="T0" fmla="*/ 42 w 48"/>
                <a:gd name="T1" fmla="*/ 12 h 12"/>
                <a:gd name="T2" fmla="*/ 6 w 48"/>
                <a:gd name="T3" fmla="*/ 12 h 12"/>
                <a:gd name="T4" fmla="*/ 0 w 48"/>
                <a:gd name="T5" fmla="*/ 6 h 12"/>
                <a:gd name="T6" fmla="*/ 6 w 48"/>
                <a:gd name="T7" fmla="*/ 0 h 12"/>
                <a:gd name="T8" fmla="*/ 42 w 48"/>
                <a:gd name="T9" fmla="*/ 0 h 12"/>
                <a:gd name="T10" fmla="*/ 48 w 48"/>
                <a:gd name="T11" fmla="*/ 6 h 12"/>
                <a:gd name="T12" fmla="*/ 42 w 48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8" h="12">
                  <a:moveTo>
                    <a:pt x="42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10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5" y="0"/>
                    <a:pt x="48" y="3"/>
                    <a:pt x="48" y="6"/>
                  </a:cubicBezTo>
                  <a:cubicBezTo>
                    <a:pt x="48" y="10"/>
                    <a:pt x="45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4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75" name="Freeform 151">
              <a:extLst>
                <a:ext uri="{FF2B5EF4-FFF2-40B4-BE49-F238E27FC236}">
                  <a16:creationId xmlns:a16="http://schemas.microsoft.com/office/drawing/2014/main" id="{1AC885E8-C212-8976-1E87-79888CA1101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45" y="1885"/>
              <a:ext cx="53" cy="53"/>
            </a:xfrm>
            <a:custGeom>
              <a:avLst/>
              <a:gdLst>
                <a:gd name="T0" fmla="*/ 18 w 36"/>
                <a:gd name="T1" fmla="*/ 36 h 36"/>
                <a:gd name="T2" fmla="*/ 0 w 36"/>
                <a:gd name="T3" fmla="*/ 18 h 36"/>
                <a:gd name="T4" fmla="*/ 18 w 36"/>
                <a:gd name="T5" fmla="*/ 0 h 36"/>
                <a:gd name="T6" fmla="*/ 36 w 36"/>
                <a:gd name="T7" fmla="*/ 18 h 36"/>
                <a:gd name="T8" fmla="*/ 18 w 36"/>
                <a:gd name="T9" fmla="*/ 36 h 36"/>
                <a:gd name="T10" fmla="*/ 18 w 36"/>
                <a:gd name="T11" fmla="*/ 12 h 36"/>
                <a:gd name="T12" fmla="*/ 12 w 36"/>
                <a:gd name="T13" fmla="*/ 18 h 36"/>
                <a:gd name="T14" fmla="*/ 18 w 36"/>
                <a:gd name="T15" fmla="*/ 24 h 36"/>
                <a:gd name="T16" fmla="*/ 24 w 36"/>
                <a:gd name="T17" fmla="*/ 18 h 36"/>
                <a:gd name="T18" fmla="*/ 18 w 36"/>
                <a:gd name="T19" fmla="*/ 12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6" h="36">
                  <a:moveTo>
                    <a:pt x="18" y="36"/>
                  </a:moveTo>
                  <a:cubicBezTo>
                    <a:pt x="8" y="36"/>
                    <a:pt x="0" y="28"/>
                    <a:pt x="0" y="18"/>
                  </a:cubicBezTo>
                  <a:cubicBezTo>
                    <a:pt x="0" y="9"/>
                    <a:pt x="8" y="0"/>
                    <a:pt x="18" y="0"/>
                  </a:cubicBezTo>
                  <a:cubicBezTo>
                    <a:pt x="28" y="0"/>
                    <a:pt x="36" y="9"/>
                    <a:pt x="36" y="18"/>
                  </a:cubicBezTo>
                  <a:cubicBezTo>
                    <a:pt x="36" y="28"/>
                    <a:pt x="28" y="36"/>
                    <a:pt x="18" y="36"/>
                  </a:cubicBezTo>
                  <a:close/>
                  <a:moveTo>
                    <a:pt x="18" y="12"/>
                  </a:moveTo>
                  <a:cubicBezTo>
                    <a:pt x="15" y="12"/>
                    <a:pt x="12" y="15"/>
                    <a:pt x="12" y="18"/>
                  </a:cubicBezTo>
                  <a:cubicBezTo>
                    <a:pt x="12" y="22"/>
                    <a:pt x="15" y="24"/>
                    <a:pt x="18" y="24"/>
                  </a:cubicBezTo>
                  <a:cubicBezTo>
                    <a:pt x="21" y="24"/>
                    <a:pt x="24" y="22"/>
                    <a:pt x="24" y="18"/>
                  </a:cubicBezTo>
                  <a:cubicBezTo>
                    <a:pt x="24" y="15"/>
                    <a:pt x="21" y="12"/>
                    <a:pt x="18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4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76" name="Freeform 152">
              <a:extLst>
                <a:ext uri="{FF2B5EF4-FFF2-40B4-BE49-F238E27FC236}">
                  <a16:creationId xmlns:a16="http://schemas.microsoft.com/office/drawing/2014/main" id="{702F7145-F76E-544F-FA3F-27978CAB5A64}"/>
                </a:ext>
              </a:extLst>
            </p:cNvPr>
            <p:cNvSpPr>
              <a:spLocks/>
            </p:cNvSpPr>
            <p:nvPr/>
          </p:nvSpPr>
          <p:spPr bwMode="auto">
            <a:xfrm>
              <a:off x="2400" y="1965"/>
              <a:ext cx="187" cy="142"/>
            </a:xfrm>
            <a:custGeom>
              <a:avLst/>
              <a:gdLst>
                <a:gd name="T0" fmla="*/ 120 w 126"/>
                <a:gd name="T1" fmla="*/ 96 h 96"/>
                <a:gd name="T2" fmla="*/ 18 w 126"/>
                <a:gd name="T3" fmla="*/ 96 h 96"/>
                <a:gd name="T4" fmla="*/ 0 w 126"/>
                <a:gd name="T5" fmla="*/ 78 h 96"/>
                <a:gd name="T6" fmla="*/ 0 w 126"/>
                <a:gd name="T7" fmla="*/ 18 h 96"/>
                <a:gd name="T8" fmla="*/ 18 w 126"/>
                <a:gd name="T9" fmla="*/ 0 h 96"/>
                <a:gd name="T10" fmla="*/ 108 w 126"/>
                <a:gd name="T11" fmla="*/ 0 h 96"/>
                <a:gd name="T12" fmla="*/ 114 w 126"/>
                <a:gd name="T13" fmla="*/ 6 h 96"/>
                <a:gd name="T14" fmla="*/ 108 w 126"/>
                <a:gd name="T15" fmla="*/ 12 h 96"/>
                <a:gd name="T16" fmla="*/ 18 w 126"/>
                <a:gd name="T17" fmla="*/ 12 h 96"/>
                <a:gd name="T18" fmla="*/ 12 w 126"/>
                <a:gd name="T19" fmla="*/ 18 h 96"/>
                <a:gd name="T20" fmla="*/ 12 w 126"/>
                <a:gd name="T21" fmla="*/ 78 h 96"/>
                <a:gd name="T22" fmla="*/ 18 w 126"/>
                <a:gd name="T23" fmla="*/ 84 h 96"/>
                <a:gd name="T24" fmla="*/ 120 w 126"/>
                <a:gd name="T25" fmla="*/ 84 h 96"/>
                <a:gd name="T26" fmla="*/ 126 w 126"/>
                <a:gd name="T27" fmla="*/ 90 h 96"/>
                <a:gd name="T28" fmla="*/ 120 w 126"/>
                <a:gd name="T29" fmla="*/ 96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26" h="96">
                  <a:moveTo>
                    <a:pt x="120" y="96"/>
                  </a:moveTo>
                  <a:cubicBezTo>
                    <a:pt x="18" y="96"/>
                    <a:pt x="18" y="96"/>
                    <a:pt x="18" y="96"/>
                  </a:cubicBezTo>
                  <a:cubicBezTo>
                    <a:pt x="8" y="96"/>
                    <a:pt x="0" y="88"/>
                    <a:pt x="0" y="78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0" y="9"/>
                    <a:pt x="8" y="0"/>
                    <a:pt x="18" y="0"/>
                  </a:cubicBezTo>
                  <a:cubicBezTo>
                    <a:pt x="108" y="0"/>
                    <a:pt x="108" y="0"/>
                    <a:pt x="108" y="0"/>
                  </a:cubicBezTo>
                  <a:cubicBezTo>
                    <a:pt x="111" y="0"/>
                    <a:pt x="114" y="3"/>
                    <a:pt x="114" y="6"/>
                  </a:cubicBezTo>
                  <a:cubicBezTo>
                    <a:pt x="114" y="10"/>
                    <a:pt x="111" y="12"/>
                    <a:pt x="108" y="12"/>
                  </a:cubicBezTo>
                  <a:cubicBezTo>
                    <a:pt x="18" y="12"/>
                    <a:pt x="18" y="12"/>
                    <a:pt x="18" y="12"/>
                  </a:cubicBezTo>
                  <a:cubicBezTo>
                    <a:pt x="15" y="12"/>
                    <a:pt x="12" y="15"/>
                    <a:pt x="12" y="18"/>
                  </a:cubicBezTo>
                  <a:cubicBezTo>
                    <a:pt x="12" y="78"/>
                    <a:pt x="12" y="78"/>
                    <a:pt x="12" y="78"/>
                  </a:cubicBezTo>
                  <a:cubicBezTo>
                    <a:pt x="12" y="82"/>
                    <a:pt x="15" y="84"/>
                    <a:pt x="18" y="84"/>
                  </a:cubicBezTo>
                  <a:cubicBezTo>
                    <a:pt x="120" y="84"/>
                    <a:pt x="120" y="84"/>
                    <a:pt x="120" y="84"/>
                  </a:cubicBezTo>
                  <a:cubicBezTo>
                    <a:pt x="123" y="84"/>
                    <a:pt x="126" y="87"/>
                    <a:pt x="126" y="90"/>
                  </a:cubicBezTo>
                  <a:cubicBezTo>
                    <a:pt x="126" y="94"/>
                    <a:pt x="123" y="96"/>
                    <a:pt x="120" y="9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4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77" name="Freeform 153">
              <a:extLst>
                <a:ext uri="{FF2B5EF4-FFF2-40B4-BE49-F238E27FC236}">
                  <a16:creationId xmlns:a16="http://schemas.microsoft.com/office/drawing/2014/main" id="{7E9A2E8C-ADF0-2179-F31A-8864F92204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45" y="2009"/>
              <a:ext cx="53" cy="54"/>
            </a:xfrm>
            <a:custGeom>
              <a:avLst/>
              <a:gdLst>
                <a:gd name="T0" fmla="*/ 18 w 36"/>
                <a:gd name="T1" fmla="*/ 36 h 36"/>
                <a:gd name="T2" fmla="*/ 0 w 36"/>
                <a:gd name="T3" fmla="*/ 18 h 36"/>
                <a:gd name="T4" fmla="*/ 18 w 36"/>
                <a:gd name="T5" fmla="*/ 0 h 36"/>
                <a:gd name="T6" fmla="*/ 36 w 36"/>
                <a:gd name="T7" fmla="*/ 18 h 36"/>
                <a:gd name="T8" fmla="*/ 18 w 36"/>
                <a:gd name="T9" fmla="*/ 36 h 36"/>
                <a:gd name="T10" fmla="*/ 18 w 36"/>
                <a:gd name="T11" fmla="*/ 12 h 36"/>
                <a:gd name="T12" fmla="*/ 12 w 36"/>
                <a:gd name="T13" fmla="*/ 18 h 36"/>
                <a:gd name="T14" fmla="*/ 18 w 36"/>
                <a:gd name="T15" fmla="*/ 24 h 36"/>
                <a:gd name="T16" fmla="*/ 24 w 36"/>
                <a:gd name="T17" fmla="*/ 18 h 36"/>
                <a:gd name="T18" fmla="*/ 18 w 36"/>
                <a:gd name="T19" fmla="*/ 12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6" h="36">
                  <a:moveTo>
                    <a:pt x="18" y="36"/>
                  </a:moveTo>
                  <a:cubicBezTo>
                    <a:pt x="8" y="36"/>
                    <a:pt x="0" y="28"/>
                    <a:pt x="0" y="18"/>
                  </a:cubicBezTo>
                  <a:cubicBezTo>
                    <a:pt x="0" y="9"/>
                    <a:pt x="8" y="0"/>
                    <a:pt x="18" y="0"/>
                  </a:cubicBezTo>
                  <a:cubicBezTo>
                    <a:pt x="28" y="0"/>
                    <a:pt x="36" y="9"/>
                    <a:pt x="36" y="18"/>
                  </a:cubicBezTo>
                  <a:cubicBezTo>
                    <a:pt x="36" y="28"/>
                    <a:pt x="28" y="36"/>
                    <a:pt x="18" y="36"/>
                  </a:cubicBezTo>
                  <a:close/>
                  <a:moveTo>
                    <a:pt x="18" y="12"/>
                  </a:moveTo>
                  <a:cubicBezTo>
                    <a:pt x="15" y="12"/>
                    <a:pt x="12" y="15"/>
                    <a:pt x="12" y="18"/>
                  </a:cubicBezTo>
                  <a:cubicBezTo>
                    <a:pt x="12" y="22"/>
                    <a:pt x="15" y="24"/>
                    <a:pt x="18" y="24"/>
                  </a:cubicBezTo>
                  <a:cubicBezTo>
                    <a:pt x="21" y="24"/>
                    <a:pt x="24" y="22"/>
                    <a:pt x="24" y="18"/>
                  </a:cubicBezTo>
                  <a:cubicBezTo>
                    <a:pt x="24" y="15"/>
                    <a:pt x="21" y="12"/>
                    <a:pt x="18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4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</p:grpSp>
      <p:grpSp>
        <p:nvGrpSpPr>
          <p:cNvPr id="85" name="Group 4">
            <a:extLst>
              <a:ext uri="{FF2B5EF4-FFF2-40B4-BE49-F238E27FC236}">
                <a16:creationId xmlns:a16="http://schemas.microsoft.com/office/drawing/2014/main" id="{5CD9C1A5-52D8-A7CD-7B99-BF2469B0D55B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1234848" y="3060033"/>
            <a:ext cx="400812" cy="346337"/>
            <a:chOff x="367" y="482"/>
            <a:chExt cx="390" cy="337"/>
          </a:xfrm>
          <a:solidFill>
            <a:schemeClr val="tx1"/>
          </a:solidFill>
        </p:grpSpPr>
        <p:sp>
          <p:nvSpPr>
            <p:cNvPr id="80" name="Freeform 5">
              <a:extLst>
                <a:ext uri="{FF2B5EF4-FFF2-40B4-BE49-F238E27FC236}">
                  <a16:creationId xmlns:a16="http://schemas.microsoft.com/office/drawing/2014/main" id="{E959DBD2-FC95-01F6-FC30-6D9A6D937649}"/>
                </a:ext>
              </a:extLst>
            </p:cNvPr>
            <p:cNvSpPr>
              <a:spLocks/>
            </p:cNvSpPr>
            <p:nvPr/>
          </p:nvSpPr>
          <p:spPr bwMode="auto">
            <a:xfrm>
              <a:off x="367" y="642"/>
              <a:ext cx="177" cy="17"/>
            </a:xfrm>
            <a:custGeom>
              <a:avLst/>
              <a:gdLst>
                <a:gd name="T0" fmla="*/ 114 w 120"/>
                <a:gd name="T1" fmla="*/ 12 h 12"/>
                <a:gd name="T2" fmla="*/ 6 w 120"/>
                <a:gd name="T3" fmla="*/ 12 h 12"/>
                <a:gd name="T4" fmla="*/ 0 w 120"/>
                <a:gd name="T5" fmla="*/ 6 h 12"/>
                <a:gd name="T6" fmla="*/ 6 w 120"/>
                <a:gd name="T7" fmla="*/ 0 h 12"/>
                <a:gd name="T8" fmla="*/ 114 w 120"/>
                <a:gd name="T9" fmla="*/ 0 h 12"/>
                <a:gd name="T10" fmla="*/ 120 w 120"/>
                <a:gd name="T11" fmla="*/ 6 h 12"/>
                <a:gd name="T12" fmla="*/ 114 w 120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0" h="12">
                  <a:moveTo>
                    <a:pt x="114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114" y="0"/>
                    <a:pt x="114" y="0"/>
                    <a:pt x="114" y="0"/>
                  </a:cubicBezTo>
                  <a:cubicBezTo>
                    <a:pt x="118" y="0"/>
                    <a:pt x="120" y="3"/>
                    <a:pt x="120" y="6"/>
                  </a:cubicBezTo>
                  <a:cubicBezTo>
                    <a:pt x="120" y="9"/>
                    <a:pt x="118" y="12"/>
                    <a:pt x="114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4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81" name="Freeform 6">
              <a:extLst>
                <a:ext uri="{FF2B5EF4-FFF2-40B4-BE49-F238E27FC236}">
                  <a16:creationId xmlns:a16="http://schemas.microsoft.com/office/drawing/2014/main" id="{413006F5-B256-3C11-DA0A-ED3D79107508}"/>
                </a:ext>
              </a:extLst>
            </p:cNvPr>
            <p:cNvSpPr>
              <a:spLocks/>
            </p:cNvSpPr>
            <p:nvPr/>
          </p:nvSpPr>
          <p:spPr bwMode="auto">
            <a:xfrm>
              <a:off x="580" y="642"/>
              <a:ext cx="177" cy="17"/>
            </a:xfrm>
            <a:custGeom>
              <a:avLst/>
              <a:gdLst>
                <a:gd name="T0" fmla="*/ 114 w 120"/>
                <a:gd name="T1" fmla="*/ 12 h 12"/>
                <a:gd name="T2" fmla="*/ 6 w 120"/>
                <a:gd name="T3" fmla="*/ 12 h 12"/>
                <a:gd name="T4" fmla="*/ 0 w 120"/>
                <a:gd name="T5" fmla="*/ 6 h 12"/>
                <a:gd name="T6" fmla="*/ 6 w 120"/>
                <a:gd name="T7" fmla="*/ 0 h 12"/>
                <a:gd name="T8" fmla="*/ 114 w 120"/>
                <a:gd name="T9" fmla="*/ 0 h 12"/>
                <a:gd name="T10" fmla="*/ 120 w 120"/>
                <a:gd name="T11" fmla="*/ 6 h 12"/>
                <a:gd name="T12" fmla="*/ 114 w 120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0" h="12">
                  <a:moveTo>
                    <a:pt x="114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114" y="0"/>
                    <a:pt x="114" y="0"/>
                    <a:pt x="114" y="0"/>
                  </a:cubicBezTo>
                  <a:cubicBezTo>
                    <a:pt x="118" y="0"/>
                    <a:pt x="120" y="3"/>
                    <a:pt x="120" y="6"/>
                  </a:cubicBezTo>
                  <a:cubicBezTo>
                    <a:pt x="120" y="9"/>
                    <a:pt x="118" y="12"/>
                    <a:pt x="114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4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82" name="Freeform 7">
              <a:extLst>
                <a:ext uri="{FF2B5EF4-FFF2-40B4-BE49-F238E27FC236}">
                  <a16:creationId xmlns:a16="http://schemas.microsoft.com/office/drawing/2014/main" id="{1E353204-DB45-A9E9-0DAA-A51FFBBF254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67" y="553"/>
              <a:ext cx="390" cy="266"/>
            </a:xfrm>
            <a:custGeom>
              <a:avLst/>
              <a:gdLst>
                <a:gd name="T0" fmla="*/ 258 w 264"/>
                <a:gd name="T1" fmla="*/ 180 h 180"/>
                <a:gd name="T2" fmla="*/ 6 w 264"/>
                <a:gd name="T3" fmla="*/ 180 h 180"/>
                <a:gd name="T4" fmla="*/ 0 w 264"/>
                <a:gd name="T5" fmla="*/ 174 h 180"/>
                <a:gd name="T6" fmla="*/ 0 w 264"/>
                <a:gd name="T7" fmla="*/ 6 h 180"/>
                <a:gd name="T8" fmla="*/ 6 w 264"/>
                <a:gd name="T9" fmla="*/ 0 h 180"/>
                <a:gd name="T10" fmla="*/ 258 w 264"/>
                <a:gd name="T11" fmla="*/ 0 h 180"/>
                <a:gd name="T12" fmla="*/ 264 w 264"/>
                <a:gd name="T13" fmla="*/ 6 h 180"/>
                <a:gd name="T14" fmla="*/ 264 w 264"/>
                <a:gd name="T15" fmla="*/ 174 h 180"/>
                <a:gd name="T16" fmla="*/ 258 w 264"/>
                <a:gd name="T17" fmla="*/ 180 h 180"/>
                <a:gd name="T18" fmla="*/ 12 w 264"/>
                <a:gd name="T19" fmla="*/ 168 h 180"/>
                <a:gd name="T20" fmla="*/ 252 w 264"/>
                <a:gd name="T21" fmla="*/ 168 h 180"/>
                <a:gd name="T22" fmla="*/ 252 w 264"/>
                <a:gd name="T23" fmla="*/ 12 h 180"/>
                <a:gd name="T24" fmla="*/ 12 w 264"/>
                <a:gd name="T25" fmla="*/ 12 h 180"/>
                <a:gd name="T26" fmla="*/ 12 w 264"/>
                <a:gd name="T27" fmla="*/ 168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64" h="180">
                  <a:moveTo>
                    <a:pt x="258" y="180"/>
                  </a:moveTo>
                  <a:cubicBezTo>
                    <a:pt x="6" y="180"/>
                    <a:pt x="6" y="180"/>
                    <a:pt x="6" y="180"/>
                  </a:cubicBezTo>
                  <a:cubicBezTo>
                    <a:pt x="3" y="180"/>
                    <a:pt x="0" y="177"/>
                    <a:pt x="0" y="174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258" y="0"/>
                    <a:pt x="258" y="0"/>
                    <a:pt x="258" y="0"/>
                  </a:cubicBezTo>
                  <a:cubicBezTo>
                    <a:pt x="262" y="0"/>
                    <a:pt x="264" y="3"/>
                    <a:pt x="264" y="6"/>
                  </a:cubicBezTo>
                  <a:cubicBezTo>
                    <a:pt x="264" y="174"/>
                    <a:pt x="264" y="174"/>
                    <a:pt x="264" y="174"/>
                  </a:cubicBezTo>
                  <a:cubicBezTo>
                    <a:pt x="264" y="177"/>
                    <a:pt x="262" y="180"/>
                    <a:pt x="258" y="180"/>
                  </a:cubicBezTo>
                  <a:close/>
                  <a:moveTo>
                    <a:pt x="12" y="168"/>
                  </a:moveTo>
                  <a:cubicBezTo>
                    <a:pt x="252" y="168"/>
                    <a:pt x="252" y="168"/>
                    <a:pt x="252" y="168"/>
                  </a:cubicBezTo>
                  <a:cubicBezTo>
                    <a:pt x="252" y="12"/>
                    <a:pt x="252" y="12"/>
                    <a:pt x="252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16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4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83" name="Freeform 8">
              <a:extLst>
                <a:ext uri="{FF2B5EF4-FFF2-40B4-BE49-F238E27FC236}">
                  <a16:creationId xmlns:a16="http://schemas.microsoft.com/office/drawing/2014/main" id="{8A63B2DC-A34F-B431-A5EA-9A3CC86F6D8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27" y="624"/>
              <a:ext cx="71" cy="89"/>
            </a:xfrm>
            <a:custGeom>
              <a:avLst/>
              <a:gdLst>
                <a:gd name="T0" fmla="*/ 42 w 48"/>
                <a:gd name="T1" fmla="*/ 60 h 60"/>
                <a:gd name="T2" fmla="*/ 6 w 48"/>
                <a:gd name="T3" fmla="*/ 60 h 60"/>
                <a:gd name="T4" fmla="*/ 0 w 48"/>
                <a:gd name="T5" fmla="*/ 54 h 60"/>
                <a:gd name="T6" fmla="*/ 0 w 48"/>
                <a:gd name="T7" fmla="*/ 6 h 60"/>
                <a:gd name="T8" fmla="*/ 6 w 48"/>
                <a:gd name="T9" fmla="*/ 0 h 60"/>
                <a:gd name="T10" fmla="*/ 42 w 48"/>
                <a:gd name="T11" fmla="*/ 0 h 60"/>
                <a:gd name="T12" fmla="*/ 48 w 48"/>
                <a:gd name="T13" fmla="*/ 6 h 60"/>
                <a:gd name="T14" fmla="*/ 48 w 48"/>
                <a:gd name="T15" fmla="*/ 54 h 60"/>
                <a:gd name="T16" fmla="*/ 42 w 48"/>
                <a:gd name="T17" fmla="*/ 60 h 60"/>
                <a:gd name="T18" fmla="*/ 12 w 48"/>
                <a:gd name="T19" fmla="*/ 48 h 60"/>
                <a:gd name="T20" fmla="*/ 36 w 48"/>
                <a:gd name="T21" fmla="*/ 48 h 60"/>
                <a:gd name="T22" fmla="*/ 36 w 48"/>
                <a:gd name="T23" fmla="*/ 12 h 60"/>
                <a:gd name="T24" fmla="*/ 12 w 48"/>
                <a:gd name="T25" fmla="*/ 12 h 60"/>
                <a:gd name="T26" fmla="*/ 12 w 48"/>
                <a:gd name="T27" fmla="*/ 48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8" h="60">
                  <a:moveTo>
                    <a:pt x="42" y="60"/>
                  </a:moveTo>
                  <a:cubicBezTo>
                    <a:pt x="6" y="60"/>
                    <a:pt x="6" y="60"/>
                    <a:pt x="6" y="60"/>
                  </a:cubicBezTo>
                  <a:cubicBezTo>
                    <a:pt x="3" y="60"/>
                    <a:pt x="0" y="57"/>
                    <a:pt x="0" y="54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6" y="0"/>
                    <a:pt x="48" y="3"/>
                    <a:pt x="48" y="6"/>
                  </a:cubicBezTo>
                  <a:cubicBezTo>
                    <a:pt x="48" y="54"/>
                    <a:pt x="48" y="54"/>
                    <a:pt x="48" y="54"/>
                  </a:cubicBezTo>
                  <a:cubicBezTo>
                    <a:pt x="48" y="57"/>
                    <a:pt x="46" y="60"/>
                    <a:pt x="42" y="60"/>
                  </a:cubicBezTo>
                  <a:close/>
                  <a:moveTo>
                    <a:pt x="12" y="48"/>
                  </a:moveTo>
                  <a:cubicBezTo>
                    <a:pt x="36" y="48"/>
                    <a:pt x="36" y="48"/>
                    <a:pt x="36" y="48"/>
                  </a:cubicBezTo>
                  <a:cubicBezTo>
                    <a:pt x="36" y="12"/>
                    <a:pt x="36" y="12"/>
                    <a:pt x="36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4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4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84" name="Freeform 9">
              <a:extLst>
                <a:ext uri="{FF2B5EF4-FFF2-40B4-BE49-F238E27FC236}">
                  <a16:creationId xmlns:a16="http://schemas.microsoft.com/office/drawing/2014/main" id="{BA068875-D6E9-DDC9-F214-CC4B3D3DC4B4}"/>
                </a:ext>
              </a:extLst>
            </p:cNvPr>
            <p:cNvSpPr>
              <a:spLocks/>
            </p:cNvSpPr>
            <p:nvPr/>
          </p:nvSpPr>
          <p:spPr bwMode="auto">
            <a:xfrm>
              <a:off x="482" y="482"/>
              <a:ext cx="160" cy="80"/>
            </a:xfrm>
            <a:custGeom>
              <a:avLst/>
              <a:gdLst>
                <a:gd name="T0" fmla="*/ 108 w 108"/>
                <a:gd name="T1" fmla="*/ 54 h 54"/>
                <a:gd name="T2" fmla="*/ 96 w 108"/>
                <a:gd name="T3" fmla="*/ 54 h 54"/>
                <a:gd name="T4" fmla="*/ 54 w 108"/>
                <a:gd name="T5" fmla="*/ 12 h 54"/>
                <a:gd name="T6" fmla="*/ 12 w 108"/>
                <a:gd name="T7" fmla="*/ 54 h 54"/>
                <a:gd name="T8" fmla="*/ 0 w 108"/>
                <a:gd name="T9" fmla="*/ 54 h 54"/>
                <a:gd name="T10" fmla="*/ 54 w 108"/>
                <a:gd name="T11" fmla="*/ 0 h 54"/>
                <a:gd name="T12" fmla="*/ 108 w 108"/>
                <a:gd name="T13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8" h="54">
                  <a:moveTo>
                    <a:pt x="108" y="54"/>
                  </a:moveTo>
                  <a:cubicBezTo>
                    <a:pt x="96" y="54"/>
                    <a:pt x="96" y="54"/>
                    <a:pt x="96" y="54"/>
                  </a:cubicBezTo>
                  <a:cubicBezTo>
                    <a:pt x="96" y="31"/>
                    <a:pt x="78" y="12"/>
                    <a:pt x="54" y="12"/>
                  </a:cubicBezTo>
                  <a:cubicBezTo>
                    <a:pt x="31" y="12"/>
                    <a:pt x="12" y="31"/>
                    <a:pt x="12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24"/>
                    <a:pt x="25" y="0"/>
                    <a:pt x="54" y="0"/>
                  </a:cubicBezTo>
                  <a:cubicBezTo>
                    <a:pt x="84" y="0"/>
                    <a:pt x="108" y="24"/>
                    <a:pt x="108" y="5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4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</p:grpSp>
      <p:sp>
        <p:nvSpPr>
          <p:cNvPr id="87" name="Rectangle 86">
            <a:extLst>
              <a:ext uri="{FF2B5EF4-FFF2-40B4-BE49-F238E27FC236}">
                <a16:creationId xmlns:a16="http://schemas.microsoft.com/office/drawing/2014/main" id="{00A131FF-7E0E-05CB-73A4-B44F6740C3F3}"/>
              </a:ext>
            </a:extLst>
          </p:cNvPr>
          <p:cNvSpPr/>
          <p:nvPr/>
        </p:nvSpPr>
        <p:spPr>
          <a:xfrm>
            <a:off x="2138360" y="4953388"/>
            <a:ext cx="2221025" cy="34041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High government spending</a:t>
            </a:r>
          </a:p>
        </p:txBody>
      </p:sp>
      <p:sp>
        <p:nvSpPr>
          <p:cNvPr id="89" name="Rectangle 88">
            <a:extLst>
              <a:ext uri="{FF2B5EF4-FFF2-40B4-BE49-F238E27FC236}">
                <a16:creationId xmlns:a16="http://schemas.microsoft.com/office/drawing/2014/main" id="{0C6F1DA9-E486-F326-D166-9662381DA4FC}"/>
              </a:ext>
            </a:extLst>
          </p:cNvPr>
          <p:cNvSpPr/>
          <p:nvPr/>
        </p:nvSpPr>
        <p:spPr>
          <a:xfrm>
            <a:off x="4131289" y="4925477"/>
            <a:ext cx="2095965" cy="36835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>
              <a:defRPr/>
            </a:pPr>
            <a:r>
              <a:rPr lang="en-US" sz="1400" b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Unbalanced public finances</a:t>
            </a:r>
            <a:endParaRPr kumimoji="0" lang="en-US" sz="140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91" name="Rectangle 90">
            <a:extLst>
              <a:ext uri="{FF2B5EF4-FFF2-40B4-BE49-F238E27FC236}">
                <a16:creationId xmlns:a16="http://schemas.microsoft.com/office/drawing/2014/main" id="{96529A21-B5E2-E4E0-523A-3D12362108A9}"/>
              </a:ext>
            </a:extLst>
          </p:cNvPr>
          <p:cNvSpPr/>
          <p:nvPr/>
        </p:nvSpPr>
        <p:spPr>
          <a:xfrm>
            <a:off x="5991544" y="4925478"/>
            <a:ext cx="1993501" cy="36835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>
              <a:defRPr/>
            </a:pPr>
            <a:r>
              <a:rPr lang="es-AR" sz="1400" b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urrent </a:t>
            </a:r>
            <a:r>
              <a:rPr lang="es-AR" sz="1400" b="1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eficit</a:t>
            </a:r>
            <a:r>
              <a:rPr lang="es-AR" sz="1400" b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: </a:t>
            </a:r>
          </a:p>
          <a:p>
            <a:pPr algn="ctr">
              <a:defRPr/>
            </a:pPr>
            <a:r>
              <a:rPr lang="es-AR" sz="1400" b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4.9% </a:t>
            </a:r>
            <a:r>
              <a:rPr lang="es-AR" sz="1400" b="1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of</a:t>
            </a:r>
            <a:r>
              <a:rPr lang="es-AR" sz="1400" b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GDP</a:t>
            </a:r>
            <a:endParaRPr lang="en-US" sz="1400" b="1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93" name="Rectangle 92">
            <a:extLst>
              <a:ext uri="{FF2B5EF4-FFF2-40B4-BE49-F238E27FC236}">
                <a16:creationId xmlns:a16="http://schemas.microsoft.com/office/drawing/2014/main" id="{FF3F6F0A-9EF8-1482-F371-314110C1109B}"/>
              </a:ext>
            </a:extLst>
          </p:cNvPr>
          <p:cNvSpPr/>
          <p:nvPr/>
        </p:nvSpPr>
        <p:spPr>
          <a:xfrm>
            <a:off x="7952037" y="4951385"/>
            <a:ext cx="1959665" cy="33800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>
              <a:defRPr/>
            </a:pPr>
            <a:r>
              <a:rPr lang="es-AR" sz="1400" b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High </a:t>
            </a:r>
            <a:r>
              <a:rPr lang="es-AR" sz="1400" b="1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borrowing</a:t>
            </a:r>
            <a:r>
              <a:rPr lang="es-AR" sz="1400" b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s-AR" sz="1400" b="1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osts</a:t>
            </a:r>
            <a:endParaRPr lang="en-US" sz="1400" b="1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95" name="Rectangle 94">
            <a:extLst>
              <a:ext uri="{FF2B5EF4-FFF2-40B4-BE49-F238E27FC236}">
                <a16:creationId xmlns:a16="http://schemas.microsoft.com/office/drawing/2014/main" id="{41AA2B2A-6B8C-6FE7-4CA6-C5BFD0361069}"/>
              </a:ext>
            </a:extLst>
          </p:cNvPr>
          <p:cNvSpPr/>
          <p:nvPr/>
        </p:nvSpPr>
        <p:spPr>
          <a:xfrm>
            <a:off x="9879080" y="4940650"/>
            <a:ext cx="1959665" cy="33800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>
              <a:defRPr/>
            </a:pPr>
            <a:r>
              <a:rPr lang="es-AR" sz="1400" b="1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Reduced</a:t>
            </a:r>
            <a:r>
              <a:rPr lang="es-AR" sz="1400" b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fiscal </a:t>
            </a:r>
            <a:r>
              <a:rPr lang="es-AR" sz="1400" b="1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redibility</a:t>
            </a:r>
            <a:endParaRPr lang="en-US" sz="1400" b="1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97" name="TextBox 96">
            <a:extLst>
              <a:ext uri="{FF2B5EF4-FFF2-40B4-BE49-F238E27FC236}">
                <a16:creationId xmlns:a16="http://schemas.microsoft.com/office/drawing/2014/main" id="{DDCC0B5F-F074-1A0E-619C-3135F1060AEB}"/>
              </a:ext>
            </a:extLst>
          </p:cNvPr>
          <p:cNvSpPr txBox="1"/>
          <p:nvPr/>
        </p:nvSpPr>
        <p:spPr>
          <a:xfrm>
            <a:off x="9304421" y="7026442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 defTabSz="228600">
              <a:spcAft>
                <a:spcPts val="1200"/>
              </a:spcAft>
            </a:pPr>
            <a:endParaRPr lang="de-DE" noProof="0"/>
          </a:p>
        </p:txBody>
      </p:sp>
      <p:pic>
        <p:nvPicPr>
          <p:cNvPr id="99" name="Graphic 98" descr="Statistics outline">
            <a:extLst>
              <a:ext uri="{FF2B5EF4-FFF2-40B4-BE49-F238E27FC236}">
                <a16:creationId xmlns:a16="http://schemas.microsoft.com/office/drawing/2014/main" id="{F85C7854-9C47-D3CE-5418-2AC3B32FC9DB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6869730" y="4278933"/>
            <a:ext cx="306178" cy="306178"/>
          </a:xfrm>
          <a:prstGeom prst="rect">
            <a:avLst/>
          </a:prstGeom>
        </p:spPr>
      </p:pic>
      <p:pic>
        <p:nvPicPr>
          <p:cNvPr id="101" name="Graphic 100" descr="Research outline">
            <a:extLst>
              <a:ext uri="{FF2B5EF4-FFF2-40B4-BE49-F238E27FC236}">
                <a16:creationId xmlns:a16="http://schemas.microsoft.com/office/drawing/2014/main" id="{715C2D89-A86D-5478-EA80-1A0032808E6E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8739359" y="4254037"/>
            <a:ext cx="343073" cy="343073"/>
          </a:xfrm>
          <a:prstGeom prst="rect">
            <a:avLst/>
          </a:prstGeom>
        </p:spPr>
      </p:pic>
      <p:sp>
        <p:nvSpPr>
          <p:cNvPr id="105" name="Rectangle 200">
            <a:extLst>
              <a:ext uri="{FF2B5EF4-FFF2-40B4-BE49-F238E27FC236}">
                <a16:creationId xmlns:a16="http://schemas.microsoft.com/office/drawing/2014/main" id="{5F47729F-A5EE-E093-0745-EEFCABDD01C8}"/>
              </a:ext>
            </a:extLst>
          </p:cNvPr>
          <p:cNvSpPr/>
          <p:nvPr/>
        </p:nvSpPr>
        <p:spPr>
          <a:xfrm>
            <a:off x="238129" y="4948849"/>
            <a:ext cx="2221025" cy="34041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Keynesian economic approach</a:t>
            </a:r>
          </a:p>
        </p:txBody>
      </p:sp>
      <p:grpSp>
        <p:nvGrpSpPr>
          <p:cNvPr id="122" name="Group 43">
            <a:extLst>
              <a:ext uri="{FF2B5EF4-FFF2-40B4-BE49-F238E27FC236}">
                <a16:creationId xmlns:a16="http://schemas.microsoft.com/office/drawing/2014/main" id="{E337A54D-AF73-041F-6194-95D30498562A}"/>
              </a:ext>
            </a:extLst>
          </p:cNvPr>
          <p:cNvGrpSpPr>
            <a:grpSpLocks noChangeAspect="1"/>
          </p:cNvGrpSpPr>
          <p:nvPr/>
        </p:nvGrpSpPr>
        <p:grpSpPr>
          <a:xfrm>
            <a:off x="945857" y="4067409"/>
            <a:ext cx="791999" cy="791999"/>
            <a:chOff x="6725771" y="4707175"/>
            <a:chExt cx="1260000" cy="1260000"/>
          </a:xfrm>
        </p:grpSpPr>
        <p:sp>
          <p:nvSpPr>
            <p:cNvPr id="107" name="Oval 40">
              <a:extLst>
                <a:ext uri="{FF2B5EF4-FFF2-40B4-BE49-F238E27FC236}">
                  <a16:creationId xmlns:a16="http://schemas.microsoft.com/office/drawing/2014/main" id="{3BA134D5-4AF3-9D1A-E405-80ECBE9DE08C}"/>
                </a:ext>
              </a:extLst>
            </p:cNvPr>
            <p:cNvSpPr/>
            <p:nvPr/>
          </p:nvSpPr>
          <p:spPr>
            <a:xfrm>
              <a:off x="6822545" y="4810982"/>
              <a:ext cx="1054783" cy="1054783"/>
            </a:xfrm>
            <a:prstGeom prst="ellipse">
              <a:avLst/>
            </a:prstGeom>
            <a:solidFill>
              <a:srgbClr val="FCD6A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108" name="Oval 41">
              <a:extLst>
                <a:ext uri="{FF2B5EF4-FFF2-40B4-BE49-F238E27FC236}">
                  <a16:creationId xmlns:a16="http://schemas.microsoft.com/office/drawing/2014/main" id="{174E05A7-017E-E367-C2FC-6609AAB1E25E}"/>
                </a:ext>
              </a:extLst>
            </p:cNvPr>
            <p:cNvSpPr>
              <a:spLocks/>
            </p:cNvSpPr>
            <p:nvPr/>
          </p:nvSpPr>
          <p:spPr>
            <a:xfrm>
              <a:off x="6994122" y="4967505"/>
              <a:ext cx="720000" cy="720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 b="1" spc="-4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109" name="Oval 42">
              <a:extLst>
                <a:ext uri="{FF2B5EF4-FFF2-40B4-BE49-F238E27FC236}">
                  <a16:creationId xmlns:a16="http://schemas.microsoft.com/office/drawing/2014/main" id="{54270BB6-DA6C-1B71-5C77-86C1F59272D6}"/>
                </a:ext>
              </a:extLst>
            </p:cNvPr>
            <p:cNvSpPr/>
            <p:nvPr/>
          </p:nvSpPr>
          <p:spPr>
            <a:xfrm>
              <a:off x="6725771" y="4707175"/>
              <a:ext cx="1260000" cy="1260000"/>
            </a:xfrm>
            <a:prstGeom prst="ellipse">
              <a:avLst/>
            </a:prstGeom>
            <a:noFill/>
            <a:ln>
              <a:solidFill>
                <a:srgbClr val="F68F0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grpSp>
          <p:nvGrpSpPr>
            <p:cNvPr id="110" name="Group 83">
              <a:extLst>
                <a:ext uri="{FF2B5EF4-FFF2-40B4-BE49-F238E27FC236}">
                  <a16:creationId xmlns:a16="http://schemas.microsoft.com/office/drawing/2014/main" id="{2001DAF0-7059-43B9-8A7A-20B286426C81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7110210" y="5087443"/>
              <a:ext cx="474347" cy="463567"/>
              <a:chOff x="2584" y="1926"/>
              <a:chExt cx="440" cy="430"/>
            </a:xfrm>
            <a:solidFill>
              <a:schemeClr val="tx1"/>
            </a:solidFill>
          </p:grpSpPr>
          <p:sp>
            <p:nvSpPr>
              <p:cNvPr id="111" name="Freeform 84">
                <a:extLst>
                  <a:ext uri="{FF2B5EF4-FFF2-40B4-BE49-F238E27FC236}">
                    <a16:creationId xmlns:a16="http://schemas.microsoft.com/office/drawing/2014/main" id="{0B473DBD-8D7D-D8B4-7F51-33E58203379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749" y="2033"/>
                <a:ext cx="165" cy="162"/>
              </a:xfrm>
              <a:custGeom>
                <a:avLst/>
                <a:gdLst>
                  <a:gd name="T0" fmla="*/ 54 w 108"/>
                  <a:gd name="T1" fmla="*/ 108 h 108"/>
                  <a:gd name="T2" fmla="*/ 0 w 108"/>
                  <a:gd name="T3" fmla="*/ 54 h 108"/>
                  <a:gd name="T4" fmla="*/ 54 w 108"/>
                  <a:gd name="T5" fmla="*/ 0 h 108"/>
                  <a:gd name="T6" fmla="*/ 108 w 108"/>
                  <a:gd name="T7" fmla="*/ 54 h 108"/>
                  <a:gd name="T8" fmla="*/ 54 w 108"/>
                  <a:gd name="T9" fmla="*/ 108 h 108"/>
                  <a:gd name="T10" fmla="*/ 54 w 108"/>
                  <a:gd name="T11" fmla="*/ 12 h 108"/>
                  <a:gd name="T12" fmla="*/ 12 w 108"/>
                  <a:gd name="T13" fmla="*/ 54 h 108"/>
                  <a:gd name="T14" fmla="*/ 54 w 108"/>
                  <a:gd name="T15" fmla="*/ 96 h 108"/>
                  <a:gd name="T16" fmla="*/ 96 w 108"/>
                  <a:gd name="T17" fmla="*/ 54 h 108"/>
                  <a:gd name="T18" fmla="*/ 54 w 108"/>
                  <a:gd name="T19" fmla="*/ 12 h 1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08" h="108">
                    <a:moveTo>
                      <a:pt x="54" y="108"/>
                    </a:moveTo>
                    <a:cubicBezTo>
                      <a:pt x="24" y="108"/>
                      <a:pt x="0" y="84"/>
                      <a:pt x="0" y="54"/>
                    </a:cubicBezTo>
                    <a:cubicBezTo>
                      <a:pt x="0" y="24"/>
                      <a:pt x="24" y="0"/>
                      <a:pt x="54" y="0"/>
                    </a:cubicBezTo>
                    <a:cubicBezTo>
                      <a:pt x="84" y="0"/>
                      <a:pt x="108" y="24"/>
                      <a:pt x="108" y="54"/>
                    </a:cubicBezTo>
                    <a:cubicBezTo>
                      <a:pt x="108" y="84"/>
                      <a:pt x="84" y="108"/>
                      <a:pt x="54" y="108"/>
                    </a:cubicBezTo>
                    <a:close/>
                    <a:moveTo>
                      <a:pt x="54" y="12"/>
                    </a:moveTo>
                    <a:cubicBezTo>
                      <a:pt x="31" y="12"/>
                      <a:pt x="12" y="31"/>
                      <a:pt x="12" y="54"/>
                    </a:cubicBezTo>
                    <a:cubicBezTo>
                      <a:pt x="12" y="77"/>
                      <a:pt x="31" y="96"/>
                      <a:pt x="54" y="96"/>
                    </a:cubicBezTo>
                    <a:cubicBezTo>
                      <a:pt x="77" y="96"/>
                      <a:pt x="96" y="77"/>
                      <a:pt x="96" y="54"/>
                    </a:cubicBezTo>
                    <a:cubicBezTo>
                      <a:pt x="96" y="31"/>
                      <a:pt x="77" y="12"/>
                      <a:pt x="54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  <p:sp>
            <p:nvSpPr>
              <p:cNvPr id="112" name="Freeform 85">
                <a:extLst>
                  <a:ext uri="{FF2B5EF4-FFF2-40B4-BE49-F238E27FC236}">
                    <a16:creationId xmlns:a16="http://schemas.microsoft.com/office/drawing/2014/main" id="{875DF9E4-7DDC-BD78-F373-0BF1DDBCB40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584" y="1989"/>
                <a:ext cx="73" cy="71"/>
              </a:xfrm>
              <a:custGeom>
                <a:avLst/>
                <a:gdLst>
                  <a:gd name="T0" fmla="*/ 24 w 48"/>
                  <a:gd name="T1" fmla="*/ 48 h 48"/>
                  <a:gd name="T2" fmla="*/ 0 w 48"/>
                  <a:gd name="T3" fmla="*/ 24 h 48"/>
                  <a:gd name="T4" fmla="*/ 24 w 48"/>
                  <a:gd name="T5" fmla="*/ 0 h 48"/>
                  <a:gd name="T6" fmla="*/ 48 w 48"/>
                  <a:gd name="T7" fmla="*/ 24 h 48"/>
                  <a:gd name="T8" fmla="*/ 24 w 48"/>
                  <a:gd name="T9" fmla="*/ 48 h 48"/>
                  <a:gd name="T10" fmla="*/ 24 w 48"/>
                  <a:gd name="T11" fmla="*/ 12 h 48"/>
                  <a:gd name="T12" fmla="*/ 12 w 48"/>
                  <a:gd name="T13" fmla="*/ 24 h 48"/>
                  <a:gd name="T14" fmla="*/ 24 w 48"/>
                  <a:gd name="T15" fmla="*/ 36 h 48"/>
                  <a:gd name="T16" fmla="*/ 36 w 48"/>
                  <a:gd name="T17" fmla="*/ 24 h 48"/>
                  <a:gd name="T18" fmla="*/ 24 w 48"/>
                  <a:gd name="T19" fmla="*/ 12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48" h="48">
                    <a:moveTo>
                      <a:pt x="24" y="48"/>
                    </a:moveTo>
                    <a:cubicBezTo>
                      <a:pt x="11" y="48"/>
                      <a:pt x="0" y="37"/>
                      <a:pt x="0" y="24"/>
                    </a:cubicBezTo>
                    <a:cubicBezTo>
                      <a:pt x="0" y="11"/>
                      <a:pt x="11" y="0"/>
                      <a:pt x="24" y="0"/>
                    </a:cubicBezTo>
                    <a:cubicBezTo>
                      <a:pt x="37" y="0"/>
                      <a:pt x="48" y="11"/>
                      <a:pt x="48" y="24"/>
                    </a:cubicBezTo>
                    <a:cubicBezTo>
                      <a:pt x="48" y="37"/>
                      <a:pt x="37" y="48"/>
                      <a:pt x="24" y="48"/>
                    </a:cubicBezTo>
                    <a:close/>
                    <a:moveTo>
                      <a:pt x="24" y="12"/>
                    </a:moveTo>
                    <a:cubicBezTo>
                      <a:pt x="17" y="12"/>
                      <a:pt x="12" y="18"/>
                      <a:pt x="12" y="24"/>
                    </a:cubicBezTo>
                    <a:cubicBezTo>
                      <a:pt x="12" y="31"/>
                      <a:pt x="17" y="36"/>
                      <a:pt x="24" y="36"/>
                    </a:cubicBezTo>
                    <a:cubicBezTo>
                      <a:pt x="31" y="36"/>
                      <a:pt x="36" y="31"/>
                      <a:pt x="36" y="24"/>
                    </a:cubicBezTo>
                    <a:cubicBezTo>
                      <a:pt x="36" y="18"/>
                      <a:pt x="31" y="12"/>
                      <a:pt x="24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  <p:sp>
            <p:nvSpPr>
              <p:cNvPr id="113" name="Freeform 86">
                <a:extLst>
                  <a:ext uri="{FF2B5EF4-FFF2-40B4-BE49-F238E27FC236}">
                    <a16:creationId xmlns:a16="http://schemas.microsoft.com/office/drawing/2014/main" id="{660ED0C8-ECE2-0119-73C9-160A66859D4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951" y="1926"/>
                <a:ext cx="73" cy="72"/>
              </a:xfrm>
              <a:custGeom>
                <a:avLst/>
                <a:gdLst>
                  <a:gd name="T0" fmla="*/ 24 w 48"/>
                  <a:gd name="T1" fmla="*/ 48 h 48"/>
                  <a:gd name="T2" fmla="*/ 0 w 48"/>
                  <a:gd name="T3" fmla="*/ 24 h 48"/>
                  <a:gd name="T4" fmla="*/ 24 w 48"/>
                  <a:gd name="T5" fmla="*/ 0 h 48"/>
                  <a:gd name="T6" fmla="*/ 48 w 48"/>
                  <a:gd name="T7" fmla="*/ 24 h 48"/>
                  <a:gd name="T8" fmla="*/ 24 w 48"/>
                  <a:gd name="T9" fmla="*/ 48 h 48"/>
                  <a:gd name="T10" fmla="*/ 24 w 48"/>
                  <a:gd name="T11" fmla="*/ 12 h 48"/>
                  <a:gd name="T12" fmla="*/ 12 w 48"/>
                  <a:gd name="T13" fmla="*/ 24 h 48"/>
                  <a:gd name="T14" fmla="*/ 24 w 48"/>
                  <a:gd name="T15" fmla="*/ 36 h 48"/>
                  <a:gd name="T16" fmla="*/ 36 w 48"/>
                  <a:gd name="T17" fmla="*/ 24 h 48"/>
                  <a:gd name="T18" fmla="*/ 24 w 48"/>
                  <a:gd name="T19" fmla="*/ 12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48" h="48">
                    <a:moveTo>
                      <a:pt x="24" y="48"/>
                    </a:moveTo>
                    <a:cubicBezTo>
                      <a:pt x="11" y="48"/>
                      <a:pt x="0" y="37"/>
                      <a:pt x="0" y="24"/>
                    </a:cubicBezTo>
                    <a:cubicBezTo>
                      <a:pt x="0" y="11"/>
                      <a:pt x="11" y="0"/>
                      <a:pt x="24" y="0"/>
                    </a:cubicBezTo>
                    <a:cubicBezTo>
                      <a:pt x="37" y="0"/>
                      <a:pt x="48" y="11"/>
                      <a:pt x="48" y="24"/>
                    </a:cubicBezTo>
                    <a:cubicBezTo>
                      <a:pt x="48" y="37"/>
                      <a:pt x="37" y="48"/>
                      <a:pt x="24" y="48"/>
                    </a:cubicBezTo>
                    <a:close/>
                    <a:moveTo>
                      <a:pt x="24" y="12"/>
                    </a:moveTo>
                    <a:cubicBezTo>
                      <a:pt x="17" y="12"/>
                      <a:pt x="12" y="18"/>
                      <a:pt x="12" y="24"/>
                    </a:cubicBezTo>
                    <a:cubicBezTo>
                      <a:pt x="12" y="31"/>
                      <a:pt x="17" y="36"/>
                      <a:pt x="24" y="36"/>
                    </a:cubicBezTo>
                    <a:cubicBezTo>
                      <a:pt x="31" y="36"/>
                      <a:pt x="36" y="31"/>
                      <a:pt x="36" y="24"/>
                    </a:cubicBezTo>
                    <a:cubicBezTo>
                      <a:pt x="36" y="18"/>
                      <a:pt x="31" y="12"/>
                      <a:pt x="24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  <p:sp>
            <p:nvSpPr>
              <p:cNvPr id="114" name="Freeform 87">
                <a:extLst>
                  <a:ext uri="{FF2B5EF4-FFF2-40B4-BE49-F238E27FC236}">
                    <a16:creationId xmlns:a16="http://schemas.microsoft.com/office/drawing/2014/main" id="{961BACC2-4595-419E-CC35-461A92FF4A8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584" y="2284"/>
                <a:ext cx="73" cy="72"/>
              </a:xfrm>
              <a:custGeom>
                <a:avLst/>
                <a:gdLst>
                  <a:gd name="T0" fmla="*/ 24 w 48"/>
                  <a:gd name="T1" fmla="*/ 48 h 48"/>
                  <a:gd name="T2" fmla="*/ 0 w 48"/>
                  <a:gd name="T3" fmla="*/ 24 h 48"/>
                  <a:gd name="T4" fmla="*/ 24 w 48"/>
                  <a:gd name="T5" fmla="*/ 0 h 48"/>
                  <a:gd name="T6" fmla="*/ 48 w 48"/>
                  <a:gd name="T7" fmla="*/ 24 h 48"/>
                  <a:gd name="T8" fmla="*/ 24 w 48"/>
                  <a:gd name="T9" fmla="*/ 48 h 48"/>
                  <a:gd name="T10" fmla="*/ 24 w 48"/>
                  <a:gd name="T11" fmla="*/ 12 h 48"/>
                  <a:gd name="T12" fmla="*/ 12 w 48"/>
                  <a:gd name="T13" fmla="*/ 24 h 48"/>
                  <a:gd name="T14" fmla="*/ 24 w 48"/>
                  <a:gd name="T15" fmla="*/ 36 h 48"/>
                  <a:gd name="T16" fmla="*/ 36 w 48"/>
                  <a:gd name="T17" fmla="*/ 24 h 48"/>
                  <a:gd name="T18" fmla="*/ 24 w 48"/>
                  <a:gd name="T19" fmla="*/ 12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48" h="48">
                    <a:moveTo>
                      <a:pt x="24" y="48"/>
                    </a:moveTo>
                    <a:cubicBezTo>
                      <a:pt x="11" y="48"/>
                      <a:pt x="0" y="37"/>
                      <a:pt x="0" y="24"/>
                    </a:cubicBezTo>
                    <a:cubicBezTo>
                      <a:pt x="0" y="11"/>
                      <a:pt x="11" y="0"/>
                      <a:pt x="24" y="0"/>
                    </a:cubicBezTo>
                    <a:cubicBezTo>
                      <a:pt x="37" y="0"/>
                      <a:pt x="48" y="11"/>
                      <a:pt x="48" y="24"/>
                    </a:cubicBezTo>
                    <a:cubicBezTo>
                      <a:pt x="48" y="37"/>
                      <a:pt x="37" y="48"/>
                      <a:pt x="24" y="48"/>
                    </a:cubicBezTo>
                    <a:close/>
                    <a:moveTo>
                      <a:pt x="24" y="12"/>
                    </a:moveTo>
                    <a:cubicBezTo>
                      <a:pt x="17" y="12"/>
                      <a:pt x="12" y="18"/>
                      <a:pt x="12" y="24"/>
                    </a:cubicBezTo>
                    <a:cubicBezTo>
                      <a:pt x="12" y="31"/>
                      <a:pt x="17" y="36"/>
                      <a:pt x="24" y="36"/>
                    </a:cubicBezTo>
                    <a:cubicBezTo>
                      <a:pt x="31" y="36"/>
                      <a:pt x="36" y="31"/>
                      <a:pt x="36" y="24"/>
                    </a:cubicBezTo>
                    <a:cubicBezTo>
                      <a:pt x="36" y="18"/>
                      <a:pt x="31" y="12"/>
                      <a:pt x="24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  <p:sp>
            <p:nvSpPr>
              <p:cNvPr id="115" name="Freeform 88">
                <a:extLst>
                  <a:ext uri="{FF2B5EF4-FFF2-40B4-BE49-F238E27FC236}">
                    <a16:creationId xmlns:a16="http://schemas.microsoft.com/office/drawing/2014/main" id="{C3C5ABEB-45DD-1270-8777-682A2988D2D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795" y="2284"/>
                <a:ext cx="73" cy="72"/>
              </a:xfrm>
              <a:custGeom>
                <a:avLst/>
                <a:gdLst>
                  <a:gd name="T0" fmla="*/ 24 w 48"/>
                  <a:gd name="T1" fmla="*/ 48 h 48"/>
                  <a:gd name="T2" fmla="*/ 0 w 48"/>
                  <a:gd name="T3" fmla="*/ 24 h 48"/>
                  <a:gd name="T4" fmla="*/ 24 w 48"/>
                  <a:gd name="T5" fmla="*/ 0 h 48"/>
                  <a:gd name="T6" fmla="*/ 48 w 48"/>
                  <a:gd name="T7" fmla="*/ 24 h 48"/>
                  <a:gd name="T8" fmla="*/ 24 w 48"/>
                  <a:gd name="T9" fmla="*/ 48 h 48"/>
                  <a:gd name="T10" fmla="*/ 24 w 48"/>
                  <a:gd name="T11" fmla="*/ 12 h 48"/>
                  <a:gd name="T12" fmla="*/ 12 w 48"/>
                  <a:gd name="T13" fmla="*/ 24 h 48"/>
                  <a:gd name="T14" fmla="*/ 24 w 48"/>
                  <a:gd name="T15" fmla="*/ 36 h 48"/>
                  <a:gd name="T16" fmla="*/ 36 w 48"/>
                  <a:gd name="T17" fmla="*/ 24 h 48"/>
                  <a:gd name="T18" fmla="*/ 24 w 48"/>
                  <a:gd name="T19" fmla="*/ 12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48" h="48">
                    <a:moveTo>
                      <a:pt x="24" y="48"/>
                    </a:moveTo>
                    <a:cubicBezTo>
                      <a:pt x="11" y="48"/>
                      <a:pt x="0" y="37"/>
                      <a:pt x="0" y="24"/>
                    </a:cubicBezTo>
                    <a:cubicBezTo>
                      <a:pt x="0" y="11"/>
                      <a:pt x="11" y="0"/>
                      <a:pt x="24" y="0"/>
                    </a:cubicBezTo>
                    <a:cubicBezTo>
                      <a:pt x="37" y="0"/>
                      <a:pt x="48" y="11"/>
                      <a:pt x="48" y="24"/>
                    </a:cubicBezTo>
                    <a:cubicBezTo>
                      <a:pt x="48" y="37"/>
                      <a:pt x="37" y="48"/>
                      <a:pt x="24" y="48"/>
                    </a:cubicBezTo>
                    <a:close/>
                    <a:moveTo>
                      <a:pt x="24" y="12"/>
                    </a:moveTo>
                    <a:cubicBezTo>
                      <a:pt x="17" y="12"/>
                      <a:pt x="12" y="18"/>
                      <a:pt x="12" y="24"/>
                    </a:cubicBezTo>
                    <a:cubicBezTo>
                      <a:pt x="12" y="31"/>
                      <a:pt x="17" y="36"/>
                      <a:pt x="24" y="36"/>
                    </a:cubicBezTo>
                    <a:cubicBezTo>
                      <a:pt x="31" y="36"/>
                      <a:pt x="36" y="31"/>
                      <a:pt x="36" y="24"/>
                    </a:cubicBezTo>
                    <a:cubicBezTo>
                      <a:pt x="36" y="18"/>
                      <a:pt x="31" y="12"/>
                      <a:pt x="24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  <p:sp>
            <p:nvSpPr>
              <p:cNvPr id="116" name="Freeform 89">
                <a:extLst>
                  <a:ext uri="{FF2B5EF4-FFF2-40B4-BE49-F238E27FC236}">
                    <a16:creationId xmlns:a16="http://schemas.microsoft.com/office/drawing/2014/main" id="{D7B24ED2-5193-DF3E-C2E8-93A5BC65D41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34" y="2159"/>
                <a:ext cx="152" cy="149"/>
              </a:xfrm>
              <a:custGeom>
                <a:avLst/>
                <a:gdLst>
                  <a:gd name="T0" fmla="*/ 12 w 152"/>
                  <a:gd name="T1" fmla="*/ 149 h 149"/>
                  <a:gd name="T2" fmla="*/ 0 w 152"/>
                  <a:gd name="T3" fmla="*/ 136 h 149"/>
                  <a:gd name="T4" fmla="*/ 139 w 152"/>
                  <a:gd name="T5" fmla="*/ 0 h 149"/>
                  <a:gd name="T6" fmla="*/ 152 w 152"/>
                  <a:gd name="T7" fmla="*/ 13 h 149"/>
                  <a:gd name="T8" fmla="*/ 12 w 152"/>
                  <a:gd name="T9" fmla="*/ 149 h 1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2" h="149">
                    <a:moveTo>
                      <a:pt x="12" y="149"/>
                    </a:moveTo>
                    <a:lnTo>
                      <a:pt x="0" y="136"/>
                    </a:lnTo>
                    <a:lnTo>
                      <a:pt x="139" y="0"/>
                    </a:lnTo>
                    <a:lnTo>
                      <a:pt x="152" y="13"/>
                    </a:lnTo>
                    <a:lnTo>
                      <a:pt x="12" y="14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  <p:sp>
            <p:nvSpPr>
              <p:cNvPr id="117" name="Freeform 90">
                <a:extLst>
                  <a:ext uri="{FF2B5EF4-FFF2-40B4-BE49-F238E27FC236}">
                    <a16:creationId xmlns:a16="http://schemas.microsoft.com/office/drawing/2014/main" id="{2DC966C0-5DFB-A47F-31B1-4BA1C1B0C68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77" y="1975"/>
                <a:ext cx="98" cy="96"/>
              </a:xfrm>
              <a:custGeom>
                <a:avLst/>
                <a:gdLst>
                  <a:gd name="T0" fmla="*/ 13 w 98"/>
                  <a:gd name="T1" fmla="*/ 96 h 96"/>
                  <a:gd name="T2" fmla="*/ 0 w 98"/>
                  <a:gd name="T3" fmla="*/ 82 h 96"/>
                  <a:gd name="T4" fmla="*/ 84 w 98"/>
                  <a:gd name="T5" fmla="*/ 0 h 96"/>
                  <a:gd name="T6" fmla="*/ 98 w 98"/>
                  <a:gd name="T7" fmla="*/ 12 h 96"/>
                  <a:gd name="T8" fmla="*/ 13 w 98"/>
                  <a:gd name="T9" fmla="*/ 96 h 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8" h="96">
                    <a:moveTo>
                      <a:pt x="13" y="96"/>
                    </a:moveTo>
                    <a:lnTo>
                      <a:pt x="0" y="82"/>
                    </a:lnTo>
                    <a:lnTo>
                      <a:pt x="84" y="0"/>
                    </a:lnTo>
                    <a:lnTo>
                      <a:pt x="98" y="12"/>
                    </a:lnTo>
                    <a:lnTo>
                      <a:pt x="13" y="9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  <p:sp>
            <p:nvSpPr>
              <p:cNvPr id="118" name="Freeform 91">
                <a:extLst>
                  <a:ext uri="{FF2B5EF4-FFF2-40B4-BE49-F238E27FC236}">
                    <a16:creationId xmlns:a16="http://schemas.microsoft.com/office/drawing/2014/main" id="{814627D6-B7A3-3FE4-3784-94B206CFBB4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42" y="2029"/>
                <a:ext cx="125" cy="66"/>
              </a:xfrm>
              <a:custGeom>
                <a:avLst/>
                <a:gdLst>
                  <a:gd name="T0" fmla="*/ 119 w 125"/>
                  <a:gd name="T1" fmla="*/ 66 h 66"/>
                  <a:gd name="T2" fmla="*/ 0 w 125"/>
                  <a:gd name="T3" fmla="*/ 16 h 66"/>
                  <a:gd name="T4" fmla="*/ 7 w 125"/>
                  <a:gd name="T5" fmla="*/ 0 h 66"/>
                  <a:gd name="T6" fmla="*/ 125 w 125"/>
                  <a:gd name="T7" fmla="*/ 49 h 66"/>
                  <a:gd name="T8" fmla="*/ 119 w 125"/>
                  <a:gd name="T9" fmla="*/ 66 h 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5" h="66">
                    <a:moveTo>
                      <a:pt x="119" y="66"/>
                    </a:moveTo>
                    <a:lnTo>
                      <a:pt x="0" y="16"/>
                    </a:lnTo>
                    <a:lnTo>
                      <a:pt x="7" y="0"/>
                    </a:lnTo>
                    <a:lnTo>
                      <a:pt x="125" y="49"/>
                    </a:lnTo>
                    <a:lnTo>
                      <a:pt x="119" y="6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  <p:sp>
            <p:nvSpPr>
              <p:cNvPr id="119" name="Freeform 92">
                <a:extLst>
                  <a:ext uri="{FF2B5EF4-FFF2-40B4-BE49-F238E27FC236}">
                    <a16:creationId xmlns:a16="http://schemas.microsoft.com/office/drawing/2014/main" id="{D72CCE50-DCC8-8FD7-8FA3-7762FD81398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91" y="2142"/>
                <a:ext cx="74" cy="44"/>
              </a:xfrm>
              <a:custGeom>
                <a:avLst/>
                <a:gdLst>
                  <a:gd name="T0" fmla="*/ 66 w 74"/>
                  <a:gd name="T1" fmla="*/ 44 h 44"/>
                  <a:gd name="T2" fmla="*/ 0 w 74"/>
                  <a:gd name="T3" fmla="*/ 17 h 44"/>
                  <a:gd name="T4" fmla="*/ 8 w 74"/>
                  <a:gd name="T5" fmla="*/ 0 h 44"/>
                  <a:gd name="T6" fmla="*/ 74 w 74"/>
                  <a:gd name="T7" fmla="*/ 27 h 44"/>
                  <a:gd name="T8" fmla="*/ 66 w 74"/>
                  <a:gd name="T9" fmla="*/ 44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4" h="44">
                    <a:moveTo>
                      <a:pt x="66" y="44"/>
                    </a:moveTo>
                    <a:lnTo>
                      <a:pt x="0" y="17"/>
                    </a:lnTo>
                    <a:lnTo>
                      <a:pt x="8" y="0"/>
                    </a:lnTo>
                    <a:lnTo>
                      <a:pt x="74" y="27"/>
                    </a:lnTo>
                    <a:lnTo>
                      <a:pt x="66" y="4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  <p:sp>
            <p:nvSpPr>
              <p:cNvPr id="120" name="Rectangle 93">
                <a:extLst>
                  <a:ext uri="{FF2B5EF4-FFF2-40B4-BE49-F238E27FC236}">
                    <a16:creationId xmlns:a16="http://schemas.microsoft.com/office/drawing/2014/main" id="{506AFDFE-5FF0-277D-02A7-1FE6E1E9E95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822" y="2186"/>
                <a:ext cx="19" cy="107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  <p:sp>
            <p:nvSpPr>
              <p:cNvPr id="121" name="Freeform 94">
                <a:extLst>
                  <a:ext uri="{FF2B5EF4-FFF2-40B4-BE49-F238E27FC236}">
                    <a16:creationId xmlns:a16="http://schemas.microsoft.com/office/drawing/2014/main" id="{F2B6C0B4-9C8F-4C5D-55E7-52ED115BBF4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951" y="2150"/>
                <a:ext cx="73" cy="72"/>
              </a:xfrm>
              <a:custGeom>
                <a:avLst/>
                <a:gdLst>
                  <a:gd name="T0" fmla="*/ 24 w 48"/>
                  <a:gd name="T1" fmla="*/ 48 h 48"/>
                  <a:gd name="T2" fmla="*/ 0 w 48"/>
                  <a:gd name="T3" fmla="*/ 24 h 48"/>
                  <a:gd name="T4" fmla="*/ 24 w 48"/>
                  <a:gd name="T5" fmla="*/ 0 h 48"/>
                  <a:gd name="T6" fmla="*/ 48 w 48"/>
                  <a:gd name="T7" fmla="*/ 24 h 48"/>
                  <a:gd name="T8" fmla="*/ 24 w 48"/>
                  <a:gd name="T9" fmla="*/ 48 h 48"/>
                  <a:gd name="T10" fmla="*/ 24 w 48"/>
                  <a:gd name="T11" fmla="*/ 12 h 48"/>
                  <a:gd name="T12" fmla="*/ 12 w 48"/>
                  <a:gd name="T13" fmla="*/ 24 h 48"/>
                  <a:gd name="T14" fmla="*/ 24 w 48"/>
                  <a:gd name="T15" fmla="*/ 36 h 48"/>
                  <a:gd name="T16" fmla="*/ 36 w 48"/>
                  <a:gd name="T17" fmla="*/ 24 h 48"/>
                  <a:gd name="T18" fmla="*/ 24 w 48"/>
                  <a:gd name="T19" fmla="*/ 12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48" h="48">
                    <a:moveTo>
                      <a:pt x="24" y="48"/>
                    </a:moveTo>
                    <a:cubicBezTo>
                      <a:pt x="11" y="48"/>
                      <a:pt x="0" y="37"/>
                      <a:pt x="0" y="24"/>
                    </a:cubicBezTo>
                    <a:cubicBezTo>
                      <a:pt x="0" y="11"/>
                      <a:pt x="11" y="0"/>
                      <a:pt x="24" y="0"/>
                    </a:cubicBezTo>
                    <a:cubicBezTo>
                      <a:pt x="37" y="0"/>
                      <a:pt x="48" y="11"/>
                      <a:pt x="48" y="24"/>
                    </a:cubicBezTo>
                    <a:cubicBezTo>
                      <a:pt x="48" y="37"/>
                      <a:pt x="37" y="48"/>
                      <a:pt x="24" y="48"/>
                    </a:cubicBezTo>
                    <a:close/>
                    <a:moveTo>
                      <a:pt x="24" y="12"/>
                    </a:moveTo>
                    <a:cubicBezTo>
                      <a:pt x="17" y="12"/>
                      <a:pt x="12" y="18"/>
                      <a:pt x="12" y="24"/>
                    </a:cubicBezTo>
                    <a:cubicBezTo>
                      <a:pt x="12" y="31"/>
                      <a:pt x="17" y="36"/>
                      <a:pt x="24" y="36"/>
                    </a:cubicBezTo>
                    <a:cubicBezTo>
                      <a:pt x="31" y="36"/>
                      <a:pt x="36" y="31"/>
                      <a:pt x="36" y="24"/>
                    </a:cubicBezTo>
                    <a:cubicBezTo>
                      <a:pt x="36" y="18"/>
                      <a:pt x="31" y="12"/>
                      <a:pt x="24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</p:grpSp>
      </p:grpSp>
      <p:grpSp>
        <p:nvGrpSpPr>
          <p:cNvPr id="135" name="Group 141">
            <a:extLst>
              <a:ext uri="{FF2B5EF4-FFF2-40B4-BE49-F238E27FC236}">
                <a16:creationId xmlns:a16="http://schemas.microsoft.com/office/drawing/2014/main" id="{3D09B09D-E57E-37D1-B33F-BE87AA3B764B}"/>
              </a:ext>
            </a:extLst>
          </p:cNvPr>
          <p:cNvGrpSpPr/>
          <p:nvPr/>
        </p:nvGrpSpPr>
        <p:grpSpPr>
          <a:xfrm>
            <a:off x="698110" y="1991743"/>
            <a:ext cx="321179" cy="313879"/>
            <a:chOff x="648648" y="3237721"/>
            <a:chExt cx="321179" cy="313879"/>
          </a:xfrm>
        </p:grpSpPr>
        <p:sp>
          <p:nvSpPr>
            <p:cNvPr id="124" name="Freeform 84">
              <a:extLst>
                <a:ext uri="{FF2B5EF4-FFF2-40B4-BE49-F238E27FC236}">
                  <a16:creationId xmlns:a16="http://schemas.microsoft.com/office/drawing/2014/main" id="{3371BF84-66E1-1D4D-41CE-95F2E0F1CAC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69090" y="3315826"/>
              <a:ext cx="120442" cy="118252"/>
            </a:xfrm>
            <a:custGeom>
              <a:avLst/>
              <a:gdLst>
                <a:gd name="T0" fmla="*/ 54 w 108"/>
                <a:gd name="T1" fmla="*/ 108 h 108"/>
                <a:gd name="T2" fmla="*/ 0 w 108"/>
                <a:gd name="T3" fmla="*/ 54 h 108"/>
                <a:gd name="T4" fmla="*/ 54 w 108"/>
                <a:gd name="T5" fmla="*/ 0 h 108"/>
                <a:gd name="T6" fmla="*/ 108 w 108"/>
                <a:gd name="T7" fmla="*/ 54 h 108"/>
                <a:gd name="T8" fmla="*/ 54 w 108"/>
                <a:gd name="T9" fmla="*/ 108 h 108"/>
                <a:gd name="T10" fmla="*/ 54 w 108"/>
                <a:gd name="T11" fmla="*/ 12 h 108"/>
                <a:gd name="T12" fmla="*/ 12 w 108"/>
                <a:gd name="T13" fmla="*/ 54 h 108"/>
                <a:gd name="T14" fmla="*/ 54 w 108"/>
                <a:gd name="T15" fmla="*/ 96 h 108"/>
                <a:gd name="T16" fmla="*/ 96 w 108"/>
                <a:gd name="T17" fmla="*/ 54 h 108"/>
                <a:gd name="T18" fmla="*/ 54 w 108"/>
                <a:gd name="T19" fmla="*/ 12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8" h="108">
                  <a:moveTo>
                    <a:pt x="54" y="108"/>
                  </a:moveTo>
                  <a:cubicBezTo>
                    <a:pt x="24" y="108"/>
                    <a:pt x="0" y="84"/>
                    <a:pt x="0" y="54"/>
                  </a:cubicBezTo>
                  <a:cubicBezTo>
                    <a:pt x="0" y="24"/>
                    <a:pt x="24" y="0"/>
                    <a:pt x="54" y="0"/>
                  </a:cubicBezTo>
                  <a:cubicBezTo>
                    <a:pt x="84" y="0"/>
                    <a:pt x="108" y="24"/>
                    <a:pt x="108" y="54"/>
                  </a:cubicBezTo>
                  <a:cubicBezTo>
                    <a:pt x="108" y="84"/>
                    <a:pt x="84" y="108"/>
                    <a:pt x="54" y="108"/>
                  </a:cubicBezTo>
                  <a:close/>
                  <a:moveTo>
                    <a:pt x="54" y="12"/>
                  </a:moveTo>
                  <a:cubicBezTo>
                    <a:pt x="31" y="12"/>
                    <a:pt x="12" y="31"/>
                    <a:pt x="12" y="54"/>
                  </a:cubicBezTo>
                  <a:cubicBezTo>
                    <a:pt x="12" y="77"/>
                    <a:pt x="31" y="96"/>
                    <a:pt x="54" y="96"/>
                  </a:cubicBezTo>
                  <a:cubicBezTo>
                    <a:pt x="77" y="96"/>
                    <a:pt x="96" y="77"/>
                    <a:pt x="96" y="54"/>
                  </a:cubicBezTo>
                  <a:cubicBezTo>
                    <a:pt x="96" y="31"/>
                    <a:pt x="77" y="12"/>
                    <a:pt x="54" y="12"/>
                  </a:cubicBezTo>
                  <a:close/>
                </a:path>
              </a:pathLst>
            </a:custGeom>
            <a:solidFill>
              <a:schemeClr val="tx1"/>
            </a:solidFill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125" name="Freeform 85">
              <a:extLst>
                <a:ext uri="{FF2B5EF4-FFF2-40B4-BE49-F238E27FC236}">
                  <a16:creationId xmlns:a16="http://schemas.microsoft.com/office/drawing/2014/main" id="{8B17EAD2-359F-961C-5CE1-5CA323E2649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48648" y="3283708"/>
              <a:ext cx="53287" cy="51827"/>
            </a:xfrm>
            <a:custGeom>
              <a:avLst/>
              <a:gdLst>
                <a:gd name="T0" fmla="*/ 24 w 48"/>
                <a:gd name="T1" fmla="*/ 48 h 48"/>
                <a:gd name="T2" fmla="*/ 0 w 48"/>
                <a:gd name="T3" fmla="*/ 24 h 48"/>
                <a:gd name="T4" fmla="*/ 24 w 48"/>
                <a:gd name="T5" fmla="*/ 0 h 48"/>
                <a:gd name="T6" fmla="*/ 48 w 48"/>
                <a:gd name="T7" fmla="*/ 24 h 48"/>
                <a:gd name="T8" fmla="*/ 24 w 48"/>
                <a:gd name="T9" fmla="*/ 48 h 48"/>
                <a:gd name="T10" fmla="*/ 24 w 48"/>
                <a:gd name="T11" fmla="*/ 12 h 48"/>
                <a:gd name="T12" fmla="*/ 12 w 48"/>
                <a:gd name="T13" fmla="*/ 24 h 48"/>
                <a:gd name="T14" fmla="*/ 24 w 48"/>
                <a:gd name="T15" fmla="*/ 36 h 48"/>
                <a:gd name="T16" fmla="*/ 36 w 48"/>
                <a:gd name="T17" fmla="*/ 24 h 48"/>
                <a:gd name="T18" fmla="*/ 24 w 48"/>
                <a:gd name="T19" fmla="*/ 12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8" h="48">
                  <a:moveTo>
                    <a:pt x="24" y="48"/>
                  </a:moveTo>
                  <a:cubicBezTo>
                    <a:pt x="11" y="48"/>
                    <a:pt x="0" y="37"/>
                    <a:pt x="0" y="24"/>
                  </a:cubicBezTo>
                  <a:cubicBezTo>
                    <a:pt x="0" y="11"/>
                    <a:pt x="11" y="0"/>
                    <a:pt x="24" y="0"/>
                  </a:cubicBezTo>
                  <a:cubicBezTo>
                    <a:pt x="37" y="0"/>
                    <a:pt x="48" y="11"/>
                    <a:pt x="48" y="24"/>
                  </a:cubicBezTo>
                  <a:cubicBezTo>
                    <a:pt x="48" y="37"/>
                    <a:pt x="37" y="48"/>
                    <a:pt x="24" y="48"/>
                  </a:cubicBezTo>
                  <a:close/>
                  <a:moveTo>
                    <a:pt x="24" y="12"/>
                  </a:moveTo>
                  <a:cubicBezTo>
                    <a:pt x="17" y="12"/>
                    <a:pt x="12" y="18"/>
                    <a:pt x="12" y="24"/>
                  </a:cubicBezTo>
                  <a:cubicBezTo>
                    <a:pt x="12" y="31"/>
                    <a:pt x="17" y="36"/>
                    <a:pt x="24" y="36"/>
                  </a:cubicBezTo>
                  <a:cubicBezTo>
                    <a:pt x="31" y="36"/>
                    <a:pt x="36" y="31"/>
                    <a:pt x="36" y="24"/>
                  </a:cubicBezTo>
                  <a:cubicBezTo>
                    <a:pt x="36" y="18"/>
                    <a:pt x="31" y="12"/>
                    <a:pt x="24" y="12"/>
                  </a:cubicBezTo>
                  <a:close/>
                </a:path>
              </a:pathLst>
            </a:custGeom>
            <a:solidFill>
              <a:schemeClr val="tx1"/>
            </a:solidFill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126" name="Freeform 86">
              <a:extLst>
                <a:ext uri="{FF2B5EF4-FFF2-40B4-BE49-F238E27FC236}">
                  <a16:creationId xmlns:a16="http://schemas.microsoft.com/office/drawing/2014/main" id="{3D1E2EEC-3BD0-0CDB-EECC-1C6AFFC15BD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16540" y="3237721"/>
              <a:ext cx="53287" cy="52556"/>
            </a:xfrm>
            <a:custGeom>
              <a:avLst/>
              <a:gdLst>
                <a:gd name="T0" fmla="*/ 24 w 48"/>
                <a:gd name="T1" fmla="*/ 48 h 48"/>
                <a:gd name="T2" fmla="*/ 0 w 48"/>
                <a:gd name="T3" fmla="*/ 24 h 48"/>
                <a:gd name="T4" fmla="*/ 24 w 48"/>
                <a:gd name="T5" fmla="*/ 0 h 48"/>
                <a:gd name="T6" fmla="*/ 48 w 48"/>
                <a:gd name="T7" fmla="*/ 24 h 48"/>
                <a:gd name="T8" fmla="*/ 24 w 48"/>
                <a:gd name="T9" fmla="*/ 48 h 48"/>
                <a:gd name="T10" fmla="*/ 24 w 48"/>
                <a:gd name="T11" fmla="*/ 12 h 48"/>
                <a:gd name="T12" fmla="*/ 12 w 48"/>
                <a:gd name="T13" fmla="*/ 24 h 48"/>
                <a:gd name="T14" fmla="*/ 24 w 48"/>
                <a:gd name="T15" fmla="*/ 36 h 48"/>
                <a:gd name="T16" fmla="*/ 36 w 48"/>
                <a:gd name="T17" fmla="*/ 24 h 48"/>
                <a:gd name="T18" fmla="*/ 24 w 48"/>
                <a:gd name="T19" fmla="*/ 12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8" h="48">
                  <a:moveTo>
                    <a:pt x="24" y="48"/>
                  </a:moveTo>
                  <a:cubicBezTo>
                    <a:pt x="11" y="48"/>
                    <a:pt x="0" y="37"/>
                    <a:pt x="0" y="24"/>
                  </a:cubicBezTo>
                  <a:cubicBezTo>
                    <a:pt x="0" y="11"/>
                    <a:pt x="11" y="0"/>
                    <a:pt x="24" y="0"/>
                  </a:cubicBezTo>
                  <a:cubicBezTo>
                    <a:pt x="37" y="0"/>
                    <a:pt x="48" y="11"/>
                    <a:pt x="48" y="24"/>
                  </a:cubicBezTo>
                  <a:cubicBezTo>
                    <a:pt x="48" y="37"/>
                    <a:pt x="37" y="48"/>
                    <a:pt x="24" y="48"/>
                  </a:cubicBezTo>
                  <a:close/>
                  <a:moveTo>
                    <a:pt x="24" y="12"/>
                  </a:moveTo>
                  <a:cubicBezTo>
                    <a:pt x="17" y="12"/>
                    <a:pt x="12" y="18"/>
                    <a:pt x="12" y="24"/>
                  </a:cubicBezTo>
                  <a:cubicBezTo>
                    <a:pt x="12" y="31"/>
                    <a:pt x="17" y="36"/>
                    <a:pt x="24" y="36"/>
                  </a:cubicBezTo>
                  <a:cubicBezTo>
                    <a:pt x="31" y="36"/>
                    <a:pt x="36" y="31"/>
                    <a:pt x="36" y="24"/>
                  </a:cubicBezTo>
                  <a:cubicBezTo>
                    <a:pt x="36" y="18"/>
                    <a:pt x="31" y="12"/>
                    <a:pt x="24" y="12"/>
                  </a:cubicBezTo>
                  <a:close/>
                </a:path>
              </a:pathLst>
            </a:custGeom>
            <a:solidFill>
              <a:schemeClr val="tx1"/>
            </a:solidFill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127" name="Freeform 87">
              <a:extLst>
                <a:ext uri="{FF2B5EF4-FFF2-40B4-BE49-F238E27FC236}">
                  <a16:creationId xmlns:a16="http://schemas.microsoft.com/office/drawing/2014/main" id="{CF46B23D-9376-3DD2-62F7-6AEB278FDAB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48648" y="3499044"/>
              <a:ext cx="53287" cy="52556"/>
            </a:xfrm>
            <a:custGeom>
              <a:avLst/>
              <a:gdLst>
                <a:gd name="T0" fmla="*/ 24 w 48"/>
                <a:gd name="T1" fmla="*/ 48 h 48"/>
                <a:gd name="T2" fmla="*/ 0 w 48"/>
                <a:gd name="T3" fmla="*/ 24 h 48"/>
                <a:gd name="T4" fmla="*/ 24 w 48"/>
                <a:gd name="T5" fmla="*/ 0 h 48"/>
                <a:gd name="T6" fmla="*/ 48 w 48"/>
                <a:gd name="T7" fmla="*/ 24 h 48"/>
                <a:gd name="T8" fmla="*/ 24 w 48"/>
                <a:gd name="T9" fmla="*/ 48 h 48"/>
                <a:gd name="T10" fmla="*/ 24 w 48"/>
                <a:gd name="T11" fmla="*/ 12 h 48"/>
                <a:gd name="T12" fmla="*/ 12 w 48"/>
                <a:gd name="T13" fmla="*/ 24 h 48"/>
                <a:gd name="T14" fmla="*/ 24 w 48"/>
                <a:gd name="T15" fmla="*/ 36 h 48"/>
                <a:gd name="T16" fmla="*/ 36 w 48"/>
                <a:gd name="T17" fmla="*/ 24 h 48"/>
                <a:gd name="T18" fmla="*/ 24 w 48"/>
                <a:gd name="T19" fmla="*/ 12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8" h="48">
                  <a:moveTo>
                    <a:pt x="24" y="48"/>
                  </a:moveTo>
                  <a:cubicBezTo>
                    <a:pt x="11" y="48"/>
                    <a:pt x="0" y="37"/>
                    <a:pt x="0" y="24"/>
                  </a:cubicBezTo>
                  <a:cubicBezTo>
                    <a:pt x="0" y="11"/>
                    <a:pt x="11" y="0"/>
                    <a:pt x="24" y="0"/>
                  </a:cubicBezTo>
                  <a:cubicBezTo>
                    <a:pt x="37" y="0"/>
                    <a:pt x="48" y="11"/>
                    <a:pt x="48" y="24"/>
                  </a:cubicBezTo>
                  <a:cubicBezTo>
                    <a:pt x="48" y="37"/>
                    <a:pt x="37" y="48"/>
                    <a:pt x="24" y="48"/>
                  </a:cubicBezTo>
                  <a:close/>
                  <a:moveTo>
                    <a:pt x="24" y="12"/>
                  </a:moveTo>
                  <a:cubicBezTo>
                    <a:pt x="17" y="12"/>
                    <a:pt x="12" y="18"/>
                    <a:pt x="12" y="24"/>
                  </a:cubicBezTo>
                  <a:cubicBezTo>
                    <a:pt x="12" y="31"/>
                    <a:pt x="17" y="36"/>
                    <a:pt x="24" y="36"/>
                  </a:cubicBezTo>
                  <a:cubicBezTo>
                    <a:pt x="31" y="36"/>
                    <a:pt x="36" y="31"/>
                    <a:pt x="36" y="24"/>
                  </a:cubicBezTo>
                  <a:cubicBezTo>
                    <a:pt x="36" y="18"/>
                    <a:pt x="31" y="12"/>
                    <a:pt x="24" y="12"/>
                  </a:cubicBezTo>
                  <a:close/>
                </a:path>
              </a:pathLst>
            </a:custGeom>
            <a:solidFill>
              <a:schemeClr val="tx1"/>
            </a:solidFill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128" name="Freeform 88">
              <a:extLst>
                <a:ext uri="{FF2B5EF4-FFF2-40B4-BE49-F238E27FC236}">
                  <a16:creationId xmlns:a16="http://schemas.microsoft.com/office/drawing/2014/main" id="{89EA00C5-471D-5640-956A-907E183FB63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02668" y="3499044"/>
              <a:ext cx="53287" cy="52556"/>
            </a:xfrm>
            <a:custGeom>
              <a:avLst/>
              <a:gdLst>
                <a:gd name="T0" fmla="*/ 24 w 48"/>
                <a:gd name="T1" fmla="*/ 48 h 48"/>
                <a:gd name="T2" fmla="*/ 0 w 48"/>
                <a:gd name="T3" fmla="*/ 24 h 48"/>
                <a:gd name="T4" fmla="*/ 24 w 48"/>
                <a:gd name="T5" fmla="*/ 0 h 48"/>
                <a:gd name="T6" fmla="*/ 48 w 48"/>
                <a:gd name="T7" fmla="*/ 24 h 48"/>
                <a:gd name="T8" fmla="*/ 24 w 48"/>
                <a:gd name="T9" fmla="*/ 48 h 48"/>
                <a:gd name="T10" fmla="*/ 24 w 48"/>
                <a:gd name="T11" fmla="*/ 12 h 48"/>
                <a:gd name="T12" fmla="*/ 12 w 48"/>
                <a:gd name="T13" fmla="*/ 24 h 48"/>
                <a:gd name="T14" fmla="*/ 24 w 48"/>
                <a:gd name="T15" fmla="*/ 36 h 48"/>
                <a:gd name="T16" fmla="*/ 36 w 48"/>
                <a:gd name="T17" fmla="*/ 24 h 48"/>
                <a:gd name="T18" fmla="*/ 24 w 48"/>
                <a:gd name="T19" fmla="*/ 12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8" h="48">
                  <a:moveTo>
                    <a:pt x="24" y="48"/>
                  </a:moveTo>
                  <a:cubicBezTo>
                    <a:pt x="11" y="48"/>
                    <a:pt x="0" y="37"/>
                    <a:pt x="0" y="24"/>
                  </a:cubicBezTo>
                  <a:cubicBezTo>
                    <a:pt x="0" y="11"/>
                    <a:pt x="11" y="0"/>
                    <a:pt x="24" y="0"/>
                  </a:cubicBezTo>
                  <a:cubicBezTo>
                    <a:pt x="37" y="0"/>
                    <a:pt x="48" y="11"/>
                    <a:pt x="48" y="24"/>
                  </a:cubicBezTo>
                  <a:cubicBezTo>
                    <a:pt x="48" y="37"/>
                    <a:pt x="37" y="48"/>
                    <a:pt x="24" y="48"/>
                  </a:cubicBezTo>
                  <a:close/>
                  <a:moveTo>
                    <a:pt x="24" y="12"/>
                  </a:moveTo>
                  <a:cubicBezTo>
                    <a:pt x="17" y="12"/>
                    <a:pt x="12" y="18"/>
                    <a:pt x="12" y="24"/>
                  </a:cubicBezTo>
                  <a:cubicBezTo>
                    <a:pt x="12" y="31"/>
                    <a:pt x="17" y="36"/>
                    <a:pt x="24" y="36"/>
                  </a:cubicBezTo>
                  <a:cubicBezTo>
                    <a:pt x="31" y="36"/>
                    <a:pt x="36" y="31"/>
                    <a:pt x="36" y="24"/>
                  </a:cubicBezTo>
                  <a:cubicBezTo>
                    <a:pt x="36" y="18"/>
                    <a:pt x="31" y="12"/>
                    <a:pt x="24" y="12"/>
                  </a:cubicBezTo>
                  <a:close/>
                </a:path>
              </a:pathLst>
            </a:custGeom>
            <a:solidFill>
              <a:schemeClr val="tx1"/>
            </a:solidFill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129" name="Freeform 89">
              <a:extLst>
                <a:ext uri="{FF2B5EF4-FFF2-40B4-BE49-F238E27FC236}">
                  <a16:creationId xmlns:a16="http://schemas.microsoft.com/office/drawing/2014/main" id="{F06ED293-D26C-2FCA-973B-24BE8653CD4E}"/>
                </a:ext>
              </a:extLst>
            </p:cNvPr>
            <p:cNvSpPr>
              <a:spLocks/>
            </p:cNvSpPr>
            <p:nvPr/>
          </p:nvSpPr>
          <p:spPr bwMode="auto">
            <a:xfrm>
              <a:off x="685146" y="3407800"/>
              <a:ext cx="110953" cy="108763"/>
            </a:xfrm>
            <a:custGeom>
              <a:avLst/>
              <a:gdLst>
                <a:gd name="T0" fmla="*/ 12 w 152"/>
                <a:gd name="T1" fmla="*/ 149 h 149"/>
                <a:gd name="T2" fmla="*/ 0 w 152"/>
                <a:gd name="T3" fmla="*/ 136 h 149"/>
                <a:gd name="T4" fmla="*/ 139 w 152"/>
                <a:gd name="T5" fmla="*/ 0 h 149"/>
                <a:gd name="T6" fmla="*/ 152 w 152"/>
                <a:gd name="T7" fmla="*/ 13 h 149"/>
                <a:gd name="T8" fmla="*/ 12 w 152"/>
                <a:gd name="T9" fmla="*/ 149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2" h="149">
                  <a:moveTo>
                    <a:pt x="12" y="149"/>
                  </a:moveTo>
                  <a:lnTo>
                    <a:pt x="0" y="136"/>
                  </a:lnTo>
                  <a:lnTo>
                    <a:pt x="139" y="0"/>
                  </a:lnTo>
                  <a:lnTo>
                    <a:pt x="152" y="13"/>
                  </a:lnTo>
                  <a:lnTo>
                    <a:pt x="12" y="149"/>
                  </a:lnTo>
                  <a:close/>
                </a:path>
              </a:pathLst>
            </a:custGeom>
            <a:solidFill>
              <a:schemeClr val="tx1"/>
            </a:solidFill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130" name="Freeform 90">
              <a:extLst>
                <a:ext uri="{FF2B5EF4-FFF2-40B4-BE49-F238E27FC236}">
                  <a16:creationId xmlns:a16="http://schemas.microsoft.com/office/drawing/2014/main" id="{9CD832A2-04F1-9DFA-87C2-2016FE32B1F0}"/>
                </a:ext>
              </a:extLst>
            </p:cNvPr>
            <p:cNvSpPr>
              <a:spLocks/>
            </p:cNvSpPr>
            <p:nvPr/>
          </p:nvSpPr>
          <p:spPr bwMode="auto">
            <a:xfrm>
              <a:off x="862524" y="3273489"/>
              <a:ext cx="71535" cy="70075"/>
            </a:xfrm>
            <a:custGeom>
              <a:avLst/>
              <a:gdLst>
                <a:gd name="T0" fmla="*/ 13 w 98"/>
                <a:gd name="T1" fmla="*/ 96 h 96"/>
                <a:gd name="T2" fmla="*/ 0 w 98"/>
                <a:gd name="T3" fmla="*/ 82 h 96"/>
                <a:gd name="T4" fmla="*/ 84 w 98"/>
                <a:gd name="T5" fmla="*/ 0 h 96"/>
                <a:gd name="T6" fmla="*/ 98 w 98"/>
                <a:gd name="T7" fmla="*/ 12 h 96"/>
                <a:gd name="T8" fmla="*/ 13 w 98"/>
                <a:gd name="T9" fmla="*/ 96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8" h="96">
                  <a:moveTo>
                    <a:pt x="13" y="96"/>
                  </a:moveTo>
                  <a:lnTo>
                    <a:pt x="0" y="82"/>
                  </a:lnTo>
                  <a:lnTo>
                    <a:pt x="84" y="0"/>
                  </a:lnTo>
                  <a:lnTo>
                    <a:pt x="98" y="12"/>
                  </a:lnTo>
                  <a:lnTo>
                    <a:pt x="13" y="96"/>
                  </a:lnTo>
                  <a:close/>
                </a:path>
              </a:pathLst>
            </a:custGeom>
            <a:solidFill>
              <a:schemeClr val="tx1"/>
            </a:solidFill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131" name="Freeform 91">
              <a:extLst>
                <a:ext uri="{FF2B5EF4-FFF2-40B4-BE49-F238E27FC236}">
                  <a16:creationId xmlns:a16="http://schemas.microsoft.com/office/drawing/2014/main" id="{4FF8812A-F1A8-B8B7-088E-E14B9E707D02}"/>
                </a:ext>
              </a:extLst>
            </p:cNvPr>
            <p:cNvSpPr>
              <a:spLocks/>
            </p:cNvSpPr>
            <p:nvPr/>
          </p:nvSpPr>
          <p:spPr bwMode="auto">
            <a:xfrm>
              <a:off x="690985" y="3312906"/>
              <a:ext cx="91244" cy="48177"/>
            </a:xfrm>
            <a:custGeom>
              <a:avLst/>
              <a:gdLst>
                <a:gd name="T0" fmla="*/ 119 w 125"/>
                <a:gd name="T1" fmla="*/ 66 h 66"/>
                <a:gd name="T2" fmla="*/ 0 w 125"/>
                <a:gd name="T3" fmla="*/ 16 h 66"/>
                <a:gd name="T4" fmla="*/ 7 w 125"/>
                <a:gd name="T5" fmla="*/ 0 h 66"/>
                <a:gd name="T6" fmla="*/ 125 w 125"/>
                <a:gd name="T7" fmla="*/ 49 h 66"/>
                <a:gd name="T8" fmla="*/ 119 w 125"/>
                <a:gd name="T9" fmla="*/ 66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5" h="66">
                  <a:moveTo>
                    <a:pt x="119" y="66"/>
                  </a:moveTo>
                  <a:lnTo>
                    <a:pt x="0" y="16"/>
                  </a:lnTo>
                  <a:lnTo>
                    <a:pt x="7" y="0"/>
                  </a:lnTo>
                  <a:lnTo>
                    <a:pt x="125" y="49"/>
                  </a:lnTo>
                  <a:lnTo>
                    <a:pt x="119" y="66"/>
                  </a:lnTo>
                  <a:close/>
                </a:path>
              </a:pathLst>
            </a:custGeom>
            <a:solidFill>
              <a:schemeClr val="tx1"/>
            </a:solidFill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132" name="Freeform 92">
              <a:extLst>
                <a:ext uri="{FF2B5EF4-FFF2-40B4-BE49-F238E27FC236}">
                  <a16:creationId xmlns:a16="http://schemas.microsoft.com/office/drawing/2014/main" id="{BFCF2BF7-AD7E-FE34-2AC1-C96010B64B09}"/>
                </a:ext>
              </a:extLst>
            </p:cNvPr>
            <p:cNvSpPr>
              <a:spLocks/>
            </p:cNvSpPr>
            <p:nvPr/>
          </p:nvSpPr>
          <p:spPr bwMode="auto">
            <a:xfrm>
              <a:off x="872743" y="3395390"/>
              <a:ext cx="54016" cy="32118"/>
            </a:xfrm>
            <a:custGeom>
              <a:avLst/>
              <a:gdLst>
                <a:gd name="T0" fmla="*/ 66 w 74"/>
                <a:gd name="T1" fmla="*/ 44 h 44"/>
                <a:gd name="T2" fmla="*/ 0 w 74"/>
                <a:gd name="T3" fmla="*/ 17 h 44"/>
                <a:gd name="T4" fmla="*/ 8 w 74"/>
                <a:gd name="T5" fmla="*/ 0 h 44"/>
                <a:gd name="T6" fmla="*/ 74 w 74"/>
                <a:gd name="T7" fmla="*/ 27 h 44"/>
                <a:gd name="T8" fmla="*/ 66 w 74"/>
                <a:gd name="T9" fmla="*/ 44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4" h="44">
                  <a:moveTo>
                    <a:pt x="66" y="44"/>
                  </a:moveTo>
                  <a:lnTo>
                    <a:pt x="0" y="17"/>
                  </a:lnTo>
                  <a:lnTo>
                    <a:pt x="8" y="0"/>
                  </a:lnTo>
                  <a:lnTo>
                    <a:pt x="74" y="27"/>
                  </a:lnTo>
                  <a:lnTo>
                    <a:pt x="66" y="44"/>
                  </a:lnTo>
                  <a:close/>
                </a:path>
              </a:pathLst>
            </a:custGeom>
            <a:solidFill>
              <a:schemeClr val="tx1"/>
            </a:solidFill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133" name="Rectangle 93">
              <a:extLst>
                <a:ext uri="{FF2B5EF4-FFF2-40B4-BE49-F238E27FC236}">
                  <a16:creationId xmlns:a16="http://schemas.microsoft.com/office/drawing/2014/main" id="{7D23888F-6465-D6B0-8127-B9A92FDE75D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22377" y="3427508"/>
              <a:ext cx="13869" cy="78105"/>
            </a:xfrm>
            <a:prstGeom prst="rect">
              <a:avLst/>
            </a:prstGeom>
            <a:solidFill>
              <a:schemeClr val="tx1"/>
            </a:solidFill>
            <a:ln w="9525">
              <a:solidFill>
                <a:srgbClr val="000000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134" name="Freeform 94">
              <a:extLst>
                <a:ext uri="{FF2B5EF4-FFF2-40B4-BE49-F238E27FC236}">
                  <a16:creationId xmlns:a16="http://schemas.microsoft.com/office/drawing/2014/main" id="{14BB92E5-F8C0-8DB4-8484-472BECFCF28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16540" y="3401230"/>
              <a:ext cx="53287" cy="52556"/>
            </a:xfrm>
            <a:custGeom>
              <a:avLst/>
              <a:gdLst>
                <a:gd name="T0" fmla="*/ 24 w 48"/>
                <a:gd name="T1" fmla="*/ 48 h 48"/>
                <a:gd name="T2" fmla="*/ 0 w 48"/>
                <a:gd name="T3" fmla="*/ 24 h 48"/>
                <a:gd name="T4" fmla="*/ 24 w 48"/>
                <a:gd name="T5" fmla="*/ 0 h 48"/>
                <a:gd name="T6" fmla="*/ 48 w 48"/>
                <a:gd name="T7" fmla="*/ 24 h 48"/>
                <a:gd name="T8" fmla="*/ 24 w 48"/>
                <a:gd name="T9" fmla="*/ 48 h 48"/>
                <a:gd name="T10" fmla="*/ 24 w 48"/>
                <a:gd name="T11" fmla="*/ 12 h 48"/>
                <a:gd name="T12" fmla="*/ 12 w 48"/>
                <a:gd name="T13" fmla="*/ 24 h 48"/>
                <a:gd name="T14" fmla="*/ 24 w 48"/>
                <a:gd name="T15" fmla="*/ 36 h 48"/>
                <a:gd name="T16" fmla="*/ 36 w 48"/>
                <a:gd name="T17" fmla="*/ 24 h 48"/>
                <a:gd name="T18" fmla="*/ 24 w 48"/>
                <a:gd name="T19" fmla="*/ 12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8" h="48">
                  <a:moveTo>
                    <a:pt x="24" y="48"/>
                  </a:moveTo>
                  <a:cubicBezTo>
                    <a:pt x="11" y="48"/>
                    <a:pt x="0" y="37"/>
                    <a:pt x="0" y="24"/>
                  </a:cubicBezTo>
                  <a:cubicBezTo>
                    <a:pt x="0" y="11"/>
                    <a:pt x="11" y="0"/>
                    <a:pt x="24" y="0"/>
                  </a:cubicBezTo>
                  <a:cubicBezTo>
                    <a:pt x="37" y="0"/>
                    <a:pt x="48" y="11"/>
                    <a:pt x="48" y="24"/>
                  </a:cubicBezTo>
                  <a:cubicBezTo>
                    <a:pt x="48" y="37"/>
                    <a:pt x="37" y="48"/>
                    <a:pt x="24" y="48"/>
                  </a:cubicBezTo>
                  <a:close/>
                  <a:moveTo>
                    <a:pt x="24" y="12"/>
                  </a:moveTo>
                  <a:cubicBezTo>
                    <a:pt x="17" y="12"/>
                    <a:pt x="12" y="18"/>
                    <a:pt x="12" y="24"/>
                  </a:cubicBezTo>
                  <a:cubicBezTo>
                    <a:pt x="12" y="31"/>
                    <a:pt x="17" y="36"/>
                    <a:pt x="24" y="36"/>
                  </a:cubicBezTo>
                  <a:cubicBezTo>
                    <a:pt x="31" y="36"/>
                    <a:pt x="36" y="31"/>
                    <a:pt x="36" y="24"/>
                  </a:cubicBezTo>
                  <a:cubicBezTo>
                    <a:pt x="36" y="18"/>
                    <a:pt x="31" y="12"/>
                    <a:pt x="24" y="12"/>
                  </a:cubicBezTo>
                  <a:close/>
                </a:path>
              </a:pathLst>
            </a:custGeom>
            <a:solidFill>
              <a:schemeClr val="tx1"/>
            </a:solidFill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</p:grpSp>
      <p:grpSp>
        <p:nvGrpSpPr>
          <p:cNvPr id="145" name="Group 142">
            <a:extLst>
              <a:ext uri="{FF2B5EF4-FFF2-40B4-BE49-F238E27FC236}">
                <a16:creationId xmlns:a16="http://schemas.microsoft.com/office/drawing/2014/main" id="{83863AB6-8861-C3BC-E6B6-3B0203026BF2}"/>
              </a:ext>
            </a:extLst>
          </p:cNvPr>
          <p:cNvGrpSpPr/>
          <p:nvPr/>
        </p:nvGrpSpPr>
        <p:grpSpPr>
          <a:xfrm>
            <a:off x="709870" y="3048611"/>
            <a:ext cx="351676" cy="352503"/>
            <a:chOff x="667135" y="3692766"/>
            <a:chExt cx="351676" cy="352503"/>
          </a:xfrm>
        </p:grpSpPr>
        <p:sp>
          <p:nvSpPr>
            <p:cNvPr id="137" name="Freeform 104">
              <a:extLst>
                <a:ext uri="{FF2B5EF4-FFF2-40B4-BE49-F238E27FC236}">
                  <a16:creationId xmlns:a16="http://schemas.microsoft.com/office/drawing/2014/main" id="{FB44AF0E-A6A6-1DD0-770D-69D436DC61E2}"/>
                </a:ext>
              </a:extLst>
            </p:cNvPr>
            <p:cNvSpPr>
              <a:spLocks/>
            </p:cNvSpPr>
            <p:nvPr/>
          </p:nvSpPr>
          <p:spPr bwMode="auto">
            <a:xfrm>
              <a:off x="733333" y="4030375"/>
              <a:ext cx="102607" cy="14894"/>
            </a:xfrm>
            <a:custGeom>
              <a:avLst/>
              <a:gdLst>
                <a:gd name="T0" fmla="*/ 78 w 84"/>
                <a:gd name="T1" fmla="*/ 12 h 12"/>
                <a:gd name="T2" fmla="*/ 6 w 84"/>
                <a:gd name="T3" fmla="*/ 12 h 12"/>
                <a:gd name="T4" fmla="*/ 0 w 84"/>
                <a:gd name="T5" fmla="*/ 6 h 12"/>
                <a:gd name="T6" fmla="*/ 6 w 84"/>
                <a:gd name="T7" fmla="*/ 0 h 12"/>
                <a:gd name="T8" fmla="*/ 78 w 84"/>
                <a:gd name="T9" fmla="*/ 0 h 12"/>
                <a:gd name="T10" fmla="*/ 84 w 84"/>
                <a:gd name="T11" fmla="*/ 6 h 12"/>
                <a:gd name="T12" fmla="*/ 78 w 84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4" h="12">
                  <a:moveTo>
                    <a:pt x="78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2" y="12"/>
                    <a:pt x="0" y="10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78" y="0"/>
                    <a:pt x="78" y="0"/>
                    <a:pt x="78" y="0"/>
                  </a:cubicBezTo>
                  <a:cubicBezTo>
                    <a:pt x="81" y="0"/>
                    <a:pt x="84" y="3"/>
                    <a:pt x="84" y="6"/>
                  </a:cubicBezTo>
                  <a:cubicBezTo>
                    <a:pt x="84" y="10"/>
                    <a:pt x="81" y="12"/>
                    <a:pt x="78" y="12"/>
                  </a:cubicBezTo>
                  <a:close/>
                </a:path>
              </a:pathLst>
            </a:custGeom>
            <a:solidFill>
              <a:schemeClr val="tx1"/>
            </a:solidFill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4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138" name="Freeform 105">
              <a:extLst>
                <a:ext uri="{FF2B5EF4-FFF2-40B4-BE49-F238E27FC236}">
                  <a16:creationId xmlns:a16="http://schemas.microsoft.com/office/drawing/2014/main" id="{D7D5CE41-65C5-9CC1-E4B7-F2123508BC1D}"/>
                </a:ext>
              </a:extLst>
            </p:cNvPr>
            <p:cNvSpPr>
              <a:spLocks/>
            </p:cNvSpPr>
            <p:nvPr/>
          </p:nvSpPr>
          <p:spPr bwMode="auto">
            <a:xfrm>
              <a:off x="777189" y="4001413"/>
              <a:ext cx="14895" cy="43856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2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solidFill>
              <a:schemeClr val="tx1"/>
            </a:solidFill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4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139" name="Rectangle 106">
              <a:extLst>
                <a:ext uri="{FF2B5EF4-FFF2-40B4-BE49-F238E27FC236}">
                  <a16:creationId xmlns:a16="http://schemas.microsoft.com/office/drawing/2014/main" id="{8284257A-5D83-D198-2D9D-99267400910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74582" y="3971624"/>
              <a:ext cx="220108" cy="14894"/>
            </a:xfrm>
            <a:prstGeom prst="rect">
              <a:avLst/>
            </a:prstGeom>
            <a:solidFill>
              <a:schemeClr val="tx1"/>
            </a:solidFill>
            <a:ln w="9525">
              <a:solidFill>
                <a:srgbClr val="000000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4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140" name="Freeform 107">
              <a:extLst>
                <a:ext uri="{FF2B5EF4-FFF2-40B4-BE49-F238E27FC236}">
                  <a16:creationId xmlns:a16="http://schemas.microsoft.com/office/drawing/2014/main" id="{42D22BA7-CF4B-D766-3770-17252E50A48A}"/>
                </a:ext>
              </a:extLst>
            </p:cNvPr>
            <p:cNvSpPr>
              <a:spLocks/>
            </p:cNvSpPr>
            <p:nvPr/>
          </p:nvSpPr>
          <p:spPr bwMode="auto">
            <a:xfrm>
              <a:off x="784636" y="3751517"/>
              <a:ext cx="95159" cy="102607"/>
            </a:xfrm>
            <a:custGeom>
              <a:avLst/>
              <a:gdLst>
                <a:gd name="T0" fmla="*/ 6 w 78"/>
                <a:gd name="T1" fmla="*/ 84 h 84"/>
                <a:gd name="T2" fmla="*/ 0 w 78"/>
                <a:gd name="T3" fmla="*/ 78 h 84"/>
                <a:gd name="T4" fmla="*/ 0 w 78"/>
                <a:gd name="T5" fmla="*/ 51 h 84"/>
                <a:gd name="T6" fmla="*/ 51 w 78"/>
                <a:gd name="T7" fmla="*/ 0 h 84"/>
                <a:gd name="T8" fmla="*/ 72 w 78"/>
                <a:gd name="T9" fmla="*/ 0 h 84"/>
                <a:gd name="T10" fmla="*/ 78 w 78"/>
                <a:gd name="T11" fmla="*/ 6 h 84"/>
                <a:gd name="T12" fmla="*/ 72 w 78"/>
                <a:gd name="T13" fmla="*/ 12 h 84"/>
                <a:gd name="T14" fmla="*/ 51 w 78"/>
                <a:gd name="T15" fmla="*/ 12 h 84"/>
                <a:gd name="T16" fmla="*/ 12 w 78"/>
                <a:gd name="T17" fmla="*/ 51 h 84"/>
                <a:gd name="T18" fmla="*/ 12 w 78"/>
                <a:gd name="T19" fmla="*/ 78 h 84"/>
                <a:gd name="T20" fmla="*/ 6 w 78"/>
                <a:gd name="T21" fmla="*/ 84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8" h="84">
                  <a:moveTo>
                    <a:pt x="6" y="84"/>
                  </a:moveTo>
                  <a:cubicBezTo>
                    <a:pt x="2" y="84"/>
                    <a:pt x="0" y="82"/>
                    <a:pt x="0" y="78"/>
                  </a:cubicBezTo>
                  <a:cubicBezTo>
                    <a:pt x="0" y="51"/>
                    <a:pt x="0" y="51"/>
                    <a:pt x="0" y="51"/>
                  </a:cubicBezTo>
                  <a:cubicBezTo>
                    <a:pt x="0" y="23"/>
                    <a:pt x="23" y="0"/>
                    <a:pt x="51" y="0"/>
                  </a:cubicBezTo>
                  <a:cubicBezTo>
                    <a:pt x="72" y="0"/>
                    <a:pt x="72" y="0"/>
                    <a:pt x="72" y="0"/>
                  </a:cubicBezTo>
                  <a:cubicBezTo>
                    <a:pt x="75" y="0"/>
                    <a:pt x="78" y="3"/>
                    <a:pt x="78" y="6"/>
                  </a:cubicBezTo>
                  <a:cubicBezTo>
                    <a:pt x="78" y="10"/>
                    <a:pt x="75" y="12"/>
                    <a:pt x="72" y="12"/>
                  </a:cubicBezTo>
                  <a:cubicBezTo>
                    <a:pt x="51" y="12"/>
                    <a:pt x="51" y="12"/>
                    <a:pt x="51" y="12"/>
                  </a:cubicBezTo>
                  <a:cubicBezTo>
                    <a:pt x="29" y="12"/>
                    <a:pt x="12" y="30"/>
                    <a:pt x="12" y="51"/>
                  </a:cubicBezTo>
                  <a:cubicBezTo>
                    <a:pt x="12" y="78"/>
                    <a:pt x="12" y="78"/>
                    <a:pt x="12" y="78"/>
                  </a:cubicBezTo>
                  <a:cubicBezTo>
                    <a:pt x="12" y="82"/>
                    <a:pt x="9" y="84"/>
                    <a:pt x="6" y="84"/>
                  </a:cubicBezTo>
                  <a:close/>
                </a:path>
              </a:pathLst>
            </a:custGeom>
            <a:solidFill>
              <a:schemeClr val="tx1"/>
            </a:solidFill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4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141" name="Freeform 108">
              <a:extLst>
                <a:ext uri="{FF2B5EF4-FFF2-40B4-BE49-F238E27FC236}">
                  <a16:creationId xmlns:a16="http://schemas.microsoft.com/office/drawing/2014/main" id="{625D9C1A-84F8-A9EF-0D10-EC507B4B4A6D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20" y="3810267"/>
              <a:ext cx="74473" cy="43856"/>
            </a:xfrm>
            <a:custGeom>
              <a:avLst/>
              <a:gdLst>
                <a:gd name="T0" fmla="*/ 31 w 61"/>
                <a:gd name="T1" fmla="*/ 36 h 36"/>
                <a:gd name="T2" fmla="*/ 26 w 61"/>
                <a:gd name="T3" fmla="*/ 34 h 36"/>
                <a:gd name="T4" fmla="*/ 2 w 61"/>
                <a:gd name="T5" fmla="*/ 10 h 36"/>
                <a:gd name="T6" fmla="*/ 2 w 61"/>
                <a:gd name="T7" fmla="*/ 2 h 36"/>
                <a:gd name="T8" fmla="*/ 11 w 61"/>
                <a:gd name="T9" fmla="*/ 2 h 36"/>
                <a:gd name="T10" fmla="*/ 31 w 61"/>
                <a:gd name="T11" fmla="*/ 22 h 36"/>
                <a:gd name="T12" fmla="*/ 50 w 61"/>
                <a:gd name="T13" fmla="*/ 2 h 36"/>
                <a:gd name="T14" fmla="*/ 59 w 61"/>
                <a:gd name="T15" fmla="*/ 2 h 36"/>
                <a:gd name="T16" fmla="*/ 59 w 61"/>
                <a:gd name="T17" fmla="*/ 10 h 36"/>
                <a:gd name="T18" fmla="*/ 35 w 61"/>
                <a:gd name="T19" fmla="*/ 34 h 36"/>
                <a:gd name="T20" fmla="*/ 31 w 61"/>
                <a:gd name="T21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1" h="36">
                  <a:moveTo>
                    <a:pt x="31" y="36"/>
                  </a:moveTo>
                  <a:cubicBezTo>
                    <a:pt x="29" y="36"/>
                    <a:pt x="28" y="36"/>
                    <a:pt x="26" y="34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0" y="8"/>
                    <a:pt x="0" y="4"/>
                    <a:pt x="2" y="2"/>
                  </a:cubicBezTo>
                  <a:cubicBezTo>
                    <a:pt x="5" y="0"/>
                    <a:pt x="9" y="0"/>
                    <a:pt x="11" y="2"/>
                  </a:cubicBezTo>
                  <a:cubicBezTo>
                    <a:pt x="31" y="22"/>
                    <a:pt x="31" y="22"/>
                    <a:pt x="31" y="22"/>
                  </a:cubicBezTo>
                  <a:cubicBezTo>
                    <a:pt x="50" y="2"/>
                    <a:pt x="50" y="2"/>
                    <a:pt x="50" y="2"/>
                  </a:cubicBezTo>
                  <a:cubicBezTo>
                    <a:pt x="53" y="0"/>
                    <a:pt x="57" y="0"/>
                    <a:pt x="59" y="2"/>
                  </a:cubicBezTo>
                  <a:cubicBezTo>
                    <a:pt x="61" y="4"/>
                    <a:pt x="61" y="8"/>
                    <a:pt x="59" y="10"/>
                  </a:cubicBezTo>
                  <a:cubicBezTo>
                    <a:pt x="35" y="34"/>
                    <a:pt x="35" y="34"/>
                    <a:pt x="35" y="34"/>
                  </a:cubicBezTo>
                  <a:cubicBezTo>
                    <a:pt x="34" y="36"/>
                    <a:pt x="32" y="36"/>
                    <a:pt x="31" y="36"/>
                  </a:cubicBezTo>
                  <a:close/>
                </a:path>
              </a:pathLst>
            </a:custGeom>
            <a:solidFill>
              <a:schemeClr val="tx1"/>
            </a:solidFill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4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142" name="Freeform 109">
              <a:extLst>
                <a:ext uri="{FF2B5EF4-FFF2-40B4-BE49-F238E27FC236}">
                  <a16:creationId xmlns:a16="http://schemas.microsoft.com/office/drawing/2014/main" id="{E170320C-53CB-B891-350B-5AFC89A68EB9}"/>
                </a:ext>
              </a:extLst>
            </p:cNvPr>
            <p:cNvSpPr>
              <a:spLocks/>
            </p:cNvSpPr>
            <p:nvPr/>
          </p:nvSpPr>
          <p:spPr bwMode="auto">
            <a:xfrm>
              <a:off x="667135" y="3854123"/>
              <a:ext cx="234175" cy="162184"/>
            </a:xfrm>
            <a:custGeom>
              <a:avLst/>
              <a:gdLst>
                <a:gd name="T0" fmla="*/ 168 w 192"/>
                <a:gd name="T1" fmla="*/ 132 h 132"/>
                <a:gd name="T2" fmla="*/ 24 w 192"/>
                <a:gd name="T3" fmla="*/ 132 h 132"/>
                <a:gd name="T4" fmla="*/ 0 w 192"/>
                <a:gd name="T5" fmla="*/ 108 h 132"/>
                <a:gd name="T6" fmla="*/ 0 w 192"/>
                <a:gd name="T7" fmla="*/ 24 h 132"/>
                <a:gd name="T8" fmla="*/ 24 w 192"/>
                <a:gd name="T9" fmla="*/ 0 h 132"/>
                <a:gd name="T10" fmla="*/ 42 w 192"/>
                <a:gd name="T11" fmla="*/ 0 h 132"/>
                <a:gd name="T12" fmla="*/ 48 w 192"/>
                <a:gd name="T13" fmla="*/ 6 h 132"/>
                <a:gd name="T14" fmla="*/ 42 w 192"/>
                <a:gd name="T15" fmla="*/ 12 h 132"/>
                <a:gd name="T16" fmla="*/ 24 w 192"/>
                <a:gd name="T17" fmla="*/ 12 h 132"/>
                <a:gd name="T18" fmla="*/ 12 w 192"/>
                <a:gd name="T19" fmla="*/ 24 h 132"/>
                <a:gd name="T20" fmla="*/ 12 w 192"/>
                <a:gd name="T21" fmla="*/ 108 h 132"/>
                <a:gd name="T22" fmla="*/ 24 w 192"/>
                <a:gd name="T23" fmla="*/ 120 h 132"/>
                <a:gd name="T24" fmla="*/ 168 w 192"/>
                <a:gd name="T25" fmla="*/ 120 h 132"/>
                <a:gd name="T26" fmla="*/ 180 w 192"/>
                <a:gd name="T27" fmla="*/ 108 h 132"/>
                <a:gd name="T28" fmla="*/ 180 w 192"/>
                <a:gd name="T29" fmla="*/ 24 h 132"/>
                <a:gd name="T30" fmla="*/ 168 w 192"/>
                <a:gd name="T31" fmla="*/ 12 h 132"/>
                <a:gd name="T32" fmla="*/ 150 w 192"/>
                <a:gd name="T33" fmla="*/ 12 h 132"/>
                <a:gd name="T34" fmla="*/ 144 w 192"/>
                <a:gd name="T35" fmla="*/ 6 h 132"/>
                <a:gd name="T36" fmla="*/ 150 w 192"/>
                <a:gd name="T37" fmla="*/ 0 h 132"/>
                <a:gd name="T38" fmla="*/ 168 w 192"/>
                <a:gd name="T39" fmla="*/ 0 h 132"/>
                <a:gd name="T40" fmla="*/ 192 w 192"/>
                <a:gd name="T41" fmla="*/ 24 h 132"/>
                <a:gd name="T42" fmla="*/ 192 w 192"/>
                <a:gd name="T43" fmla="*/ 108 h 132"/>
                <a:gd name="T44" fmla="*/ 168 w 192"/>
                <a:gd name="T45" fmla="*/ 132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92" h="132">
                  <a:moveTo>
                    <a:pt x="168" y="132"/>
                  </a:moveTo>
                  <a:cubicBezTo>
                    <a:pt x="24" y="132"/>
                    <a:pt x="24" y="132"/>
                    <a:pt x="24" y="132"/>
                  </a:cubicBezTo>
                  <a:cubicBezTo>
                    <a:pt x="10" y="132"/>
                    <a:pt x="0" y="121"/>
                    <a:pt x="0" y="108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0" y="11"/>
                    <a:pt x="10" y="0"/>
                    <a:pt x="24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5" y="0"/>
                    <a:pt x="48" y="3"/>
                    <a:pt x="48" y="6"/>
                  </a:cubicBezTo>
                  <a:cubicBezTo>
                    <a:pt x="48" y="10"/>
                    <a:pt x="45" y="12"/>
                    <a:pt x="42" y="12"/>
                  </a:cubicBezTo>
                  <a:cubicBezTo>
                    <a:pt x="24" y="12"/>
                    <a:pt x="24" y="12"/>
                    <a:pt x="24" y="12"/>
                  </a:cubicBezTo>
                  <a:cubicBezTo>
                    <a:pt x="17" y="12"/>
                    <a:pt x="12" y="18"/>
                    <a:pt x="12" y="24"/>
                  </a:cubicBezTo>
                  <a:cubicBezTo>
                    <a:pt x="12" y="108"/>
                    <a:pt x="12" y="108"/>
                    <a:pt x="12" y="108"/>
                  </a:cubicBezTo>
                  <a:cubicBezTo>
                    <a:pt x="12" y="115"/>
                    <a:pt x="17" y="120"/>
                    <a:pt x="24" y="120"/>
                  </a:cubicBezTo>
                  <a:cubicBezTo>
                    <a:pt x="168" y="120"/>
                    <a:pt x="168" y="120"/>
                    <a:pt x="168" y="120"/>
                  </a:cubicBezTo>
                  <a:cubicBezTo>
                    <a:pt x="174" y="120"/>
                    <a:pt x="180" y="115"/>
                    <a:pt x="180" y="108"/>
                  </a:cubicBezTo>
                  <a:cubicBezTo>
                    <a:pt x="180" y="24"/>
                    <a:pt x="180" y="24"/>
                    <a:pt x="180" y="24"/>
                  </a:cubicBezTo>
                  <a:cubicBezTo>
                    <a:pt x="180" y="18"/>
                    <a:pt x="174" y="12"/>
                    <a:pt x="168" y="12"/>
                  </a:cubicBezTo>
                  <a:cubicBezTo>
                    <a:pt x="150" y="12"/>
                    <a:pt x="150" y="12"/>
                    <a:pt x="150" y="12"/>
                  </a:cubicBezTo>
                  <a:cubicBezTo>
                    <a:pt x="146" y="12"/>
                    <a:pt x="144" y="10"/>
                    <a:pt x="144" y="6"/>
                  </a:cubicBezTo>
                  <a:cubicBezTo>
                    <a:pt x="144" y="3"/>
                    <a:pt x="146" y="0"/>
                    <a:pt x="150" y="0"/>
                  </a:cubicBezTo>
                  <a:cubicBezTo>
                    <a:pt x="168" y="0"/>
                    <a:pt x="168" y="0"/>
                    <a:pt x="168" y="0"/>
                  </a:cubicBezTo>
                  <a:cubicBezTo>
                    <a:pt x="181" y="0"/>
                    <a:pt x="192" y="11"/>
                    <a:pt x="192" y="24"/>
                  </a:cubicBezTo>
                  <a:cubicBezTo>
                    <a:pt x="192" y="108"/>
                    <a:pt x="192" y="108"/>
                    <a:pt x="192" y="108"/>
                  </a:cubicBezTo>
                  <a:cubicBezTo>
                    <a:pt x="192" y="121"/>
                    <a:pt x="181" y="132"/>
                    <a:pt x="168" y="132"/>
                  </a:cubicBezTo>
                  <a:close/>
                </a:path>
              </a:pathLst>
            </a:custGeom>
            <a:solidFill>
              <a:schemeClr val="tx1"/>
            </a:solidFill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4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143" name="Freeform 110">
              <a:extLst>
                <a:ext uri="{FF2B5EF4-FFF2-40B4-BE49-F238E27FC236}">
                  <a16:creationId xmlns:a16="http://schemas.microsoft.com/office/drawing/2014/main" id="{AB2E3274-8B5E-2D23-BC31-63275DD9104A}"/>
                </a:ext>
              </a:extLst>
            </p:cNvPr>
            <p:cNvSpPr>
              <a:spLocks/>
            </p:cNvSpPr>
            <p:nvPr/>
          </p:nvSpPr>
          <p:spPr bwMode="auto">
            <a:xfrm>
              <a:off x="841732" y="3729175"/>
              <a:ext cx="38064" cy="58751"/>
            </a:xfrm>
            <a:custGeom>
              <a:avLst/>
              <a:gdLst>
                <a:gd name="T0" fmla="*/ 7 w 31"/>
                <a:gd name="T1" fmla="*/ 48 h 48"/>
                <a:gd name="T2" fmla="*/ 2 w 31"/>
                <a:gd name="T3" fmla="*/ 46 h 48"/>
                <a:gd name="T4" fmla="*/ 2 w 31"/>
                <a:gd name="T5" fmla="*/ 38 h 48"/>
                <a:gd name="T6" fmla="*/ 16 w 31"/>
                <a:gd name="T7" fmla="*/ 24 h 48"/>
                <a:gd name="T8" fmla="*/ 2 w 31"/>
                <a:gd name="T9" fmla="*/ 10 h 48"/>
                <a:gd name="T10" fmla="*/ 2 w 31"/>
                <a:gd name="T11" fmla="*/ 2 h 48"/>
                <a:gd name="T12" fmla="*/ 11 w 31"/>
                <a:gd name="T13" fmla="*/ 2 h 48"/>
                <a:gd name="T14" fmla="*/ 29 w 31"/>
                <a:gd name="T15" fmla="*/ 20 h 48"/>
                <a:gd name="T16" fmla="*/ 29 w 31"/>
                <a:gd name="T17" fmla="*/ 28 h 48"/>
                <a:gd name="T18" fmla="*/ 11 w 31"/>
                <a:gd name="T19" fmla="*/ 46 h 48"/>
                <a:gd name="T20" fmla="*/ 7 w 31"/>
                <a:gd name="T21" fmla="*/ 48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1" h="48">
                  <a:moveTo>
                    <a:pt x="7" y="48"/>
                  </a:moveTo>
                  <a:cubicBezTo>
                    <a:pt x="5" y="48"/>
                    <a:pt x="4" y="48"/>
                    <a:pt x="2" y="46"/>
                  </a:cubicBezTo>
                  <a:cubicBezTo>
                    <a:pt x="0" y="44"/>
                    <a:pt x="0" y="40"/>
                    <a:pt x="2" y="38"/>
                  </a:cubicBezTo>
                  <a:cubicBezTo>
                    <a:pt x="16" y="24"/>
                    <a:pt x="16" y="24"/>
                    <a:pt x="16" y="24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0" y="8"/>
                    <a:pt x="0" y="4"/>
                    <a:pt x="2" y="2"/>
                  </a:cubicBezTo>
                  <a:cubicBezTo>
                    <a:pt x="5" y="0"/>
                    <a:pt x="9" y="0"/>
                    <a:pt x="11" y="2"/>
                  </a:cubicBezTo>
                  <a:cubicBezTo>
                    <a:pt x="29" y="20"/>
                    <a:pt x="29" y="20"/>
                    <a:pt x="29" y="20"/>
                  </a:cubicBezTo>
                  <a:cubicBezTo>
                    <a:pt x="31" y="22"/>
                    <a:pt x="31" y="26"/>
                    <a:pt x="29" y="28"/>
                  </a:cubicBezTo>
                  <a:cubicBezTo>
                    <a:pt x="11" y="46"/>
                    <a:pt x="11" y="46"/>
                    <a:pt x="11" y="46"/>
                  </a:cubicBezTo>
                  <a:cubicBezTo>
                    <a:pt x="10" y="48"/>
                    <a:pt x="8" y="48"/>
                    <a:pt x="7" y="48"/>
                  </a:cubicBezTo>
                  <a:close/>
                </a:path>
              </a:pathLst>
            </a:custGeom>
            <a:solidFill>
              <a:schemeClr val="tx1"/>
            </a:solidFill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4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144" name="Freeform 111">
              <a:extLst>
                <a:ext uri="{FF2B5EF4-FFF2-40B4-BE49-F238E27FC236}">
                  <a16:creationId xmlns:a16="http://schemas.microsoft.com/office/drawing/2014/main" id="{9509AACB-F8AC-98E8-CD30-89BB12E1EC5E}"/>
                </a:ext>
              </a:extLst>
            </p:cNvPr>
            <p:cNvSpPr>
              <a:spLocks/>
            </p:cNvSpPr>
            <p:nvPr/>
          </p:nvSpPr>
          <p:spPr bwMode="auto">
            <a:xfrm>
              <a:off x="843387" y="3692766"/>
              <a:ext cx="175424" cy="132395"/>
            </a:xfrm>
            <a:custGeom>
              <a:avLst/>
              <a:gdLst>
                <a:gd name="T0" fmla="*/ 105 w 144"/>
                <a:gd name="T1" fmla="*/ 108 h 108"/>
                <a:gd name="T2" fmla="*/ 0 w 144"/>
                <a:gd name="T3" fmla="*/ 108 h 108"/>
                <a:gd name="T4" fmla="*/ 0 w 144"/>
                <a:gd name="T5" fmla="*/ 96 h 108"/>
                <a:gd name="T6" fmla="*/ 104 w 144"/>
                <a:gd name="T7" fmla="*/ 96 h 108"/>
                <a:gd name="T8" fmla="*/ 132 w 144"/>
                <a:gd name="T9" fmla="*/ 68 h 108"/>
                <a:gd name="T10" fmla="*/ 123 w 144"/>
                <a:gd name="T11" fmla="*/ 48 h 108"/>
                <a:gd name="T12" fmla="*/ 100 w 144"/>
                <a:gd name="T13" fmla="*/ 40 h 108"/>
                <a:gd name="T14" fmla="*/ 94 w 144"/>
                <a:gd name="T15" fmla="*/ 36 h 108"/>
                <a:gd name="T16" fmla="*/ 54 w 144"/>
                <a:gd name="T17" fmla="*/ 12 h 108"/>
                <a:gd name="T18" fmla="*/ 28 w 144"/>
                <a:gd name="T19" fmla="*/ 19 h 108"/>
                <a:gd name="T20" fmla="*/ 22 w 144"/>
                <a:gd name="T21" fmla="*/ 9 h 108"/>
                <a:gd name="T22" fmla="*/ 54 w 144"/>
                <a:gd name="T23" fmla="*/ 0 h 108"/>
                <a:gd name="T24" fmla="*/ 103 w 144"/>
                <a:gd name="T25" fmla="*/ 28 h 108"/>
                <a:gd name="T26" fmla="*/ 131 w 144"/>
                <a:gd name="T27" fmla="*/ 40 h 108"/>
                <a:gd name="T28" fmla="*/ 144 w 144"/>
                <a:gd name="T29" fmla="*/ 68 h 108"/>
                <a:gd name="T30" fmla="*/ 106 w 144"/>
                <a:gd name="T31" fmla="*/ 108 h 108"/>
                <a:gd name="T32" fmla="*/ 105 w 144"/>
                <a:gd name="T33" fmla="*/ 108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44" h="108">
                  <a:moveTo>
                    <a:pt x="105" y="108"/>
                  </a:moveTo>
                  <a:cubicBezTo>
                    <a:pt x="0" y="108"/>
                    <a:pt x="0" y="108"/>
                    <a:pt x="0" y="108"/>
                  </a:cubicBezTo>
                  <a:cubicBezTo>
                    <a:pt x="0" y="96"/>
                    <a:pt x="0" y="96"/>
                    <a:pt x="0" y="96"/>
                  </a:cubicBezTo>
                  <a:cubicBezTo>
                    <a:pt x="104" y="96"/>
                    <a:pt x="104" y="96"/>
                    <a:pt x="104" y="96"/>
                  </a:cubicBezTo>
                  <a:cubicBezTo>
                    <a:pt x="108" y="96"/>
                    <a:pt x="132" y="91"/>
                    <a:pt x="132" y="68"/>
                  </a:cubicBezTo>
                  <a:cubicBezTo>
                    <a:pt x="132" y="61"/>
                    <a:pt x="129" y="54"/>
                    <a:pt x="123" y="48"/>
                  </a:cubicBezTo>
                  <a:cubicBezTo>
                    <a:pt x="117" y="43"/>
                    <a:pt x="109" y="39"/>
                    <a:pt x="100" y="40"/>
                  </a:cubicBezTo>
                  <a:cubicBezTo>
                    <a:pt x="98" y="40"/>
                    <a:pt x="95" y="39"/>
                    <a:pt x="94" y="36"/>
                  </a:cubicBezTo>
                  <a:cubicBezTo>
                    <a:pt x="87" y="22"/>
                    <a:pt x="71" y="12"/>
                    <a:pt x="54" y="12"/>
                  </a:cubicBezTo>
                  <a:cubicBezTo>
                    <a:pt x="45" y="12"/>
                    <a:pt x="36" y="15"/>
                    <a:pt x="28" y="19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31" y="3"/>
                    <a:pt x="42" y="0"/>
                    <a:pt x="54" y="0"/>
                  </a:cubicBezTo>
                  <a:cubicBezTo>
                    <a:pt x="74" y="0"/>
                    <a:pt x="93" y="11"/>
                    <a:pt x="103" y="28"/>
                  </a:cubicBezTo>
                  <a:cubicBezTo>
                    <a:pt x="114" y="28"/>
                    <a:pt x="124" y="33"/>
                    <a:pt x="131" y="40"/>
                  </a:cubicBezTo>
                  <a:cubicBezTo>
                    <a:pt x="139" y="47"/>
                    <a:pt x="144" y="57"/>
                    <a:pt x="144" y="68"/>
                  </a:cubicBezTo>
                  <a:cubicBezTo>
                    <a:pt x="144" y="96"/>
                    <a:pt x="119" y="107"/>
                    <a:pt x="106" y="108"/>
                  </a:cubicBezTo>
                  <a:cubicBezTo>
                    <a:pt x="105" y="108"/>
                    <a:pt x="105" y="108"/>
                    <a:pt x="105" y="108"/>
                  </a:cubicBezTo>
                  <a:close/>
                </a:path>
              </a:pathLst>
            </a:custGeom>
            <a:solidFill>
              <a:schemeClr val="tx1"/>
            </a:solidFill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4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</p:grpSp>
      <p:sp>
        <p:nvSpPr>
          <p:cNvPr id="147" name="Rectangle 143">
            <a:extLst>
              <a:ext uri="{FF2B5EF4-FFF2-40B4-BE49-F238E27FC236}">
                <a16:creationId xmlns:a16="http://schemas.microsoft.com/office/drawing/2014/main" id="{744D0479-92F7-2749-CAD3-C01164D7DCFF}"/>
              </a:ext>
            </a:extLst>
          </p:cNvPr>
          <p:cNvSpPr/>
          <p:nvPr/>
        </p:nvSpPr>
        <p:spPr>
          <a:xfrm>
            <a:off x="1011823" y="2060598"/>
            <a:ext cx="4903839" cy="355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91440" rIns="91440" bIns="91440" rtlCol="0" anchor="ctr"/>
          <a:lstStyle/>
          <a:p>
            <a:pPr algn="r">
              <a:defRPr/>
            </a:pPr>
            <a:r>
              <a:rPr lang="es-AR" sz="1400" b="1" i="0" u="none" strike="noStrike">
                <a:solidFill>
                  <a:srgbClr val="000000"/>
                </a:solidFill>
                <a:effectLst/>
                <a:latin typeface="Verdana"/>
                <a:ea typeface="Verdana"/>
              </a:rPr>
              <a:t> </a:t>
            </a:r>
            <a:r>
              <a:rPr lang="es-AR" sz="1400" b="1">
                <a:solidFill>
                  <a:srgbClr val="000000"/>
                </a:solidFill>
                <a:latin typeface="Verdana"/>
                <a:ea typeface="Verdana"/>
              </a:rPr>
              <a:t>H</a:t>
            </a:r>
            <a:r>
              <a:rPr lang="es-AR" sz="1400" b="1" i="0" u="none" strike="noStrike">
                <a:solidFill>
                  <a:srgbClr val="000000"/>
                </a:solidFill>
                <a:effectLst/>
                <a:latin typeface="Verdana"/>
                <a:ea typeface="Verdana"/>
              </a:rPr>
              <a:t>igh </a:t>
            </a:r>
            <a:r>
              <a:rPr lang="es-AR" sz="1400" b="1" i="0" u="none" strike="noStrike" err="1">
                <a:solidFill>
                  <a:srgbClr val="000000"/>
                </a:solidFill>
                <a:effectLst/>
                <a:latin typeface="Verdana"/>
                <a:ea typeface="Verdana"/>
              </a:rPr>
              <a:t>pension</a:t>
            </a:r>
            <a:r>
              <a:rPr lang="es-AR" sz="1400" b="1" i="0" u="none" strike="noStrike">
                <a:solidFill>
                  <a:srgbClr val="000000"/>
                </a:solidFill>
                <a:effectLst/>
                <a:latin typeface="Verdana"/>
                <a:ea typeface="Verdana"/>
              </a:rPr>
              <a:t> </a:t>
            </a:r>
            <a:r>
              <a:rPr lang="es-AR" sz="1400" b="1" i="0" u="none" strike="noStrike" err="1">
                <a:solidFill>
                  <a:srgbClr val="000000"/>
                </a:solidFill>
                <a:effectLst/>
                <a:latin typeface="Verdana"/>
                <a:ea typeface="Verdana"/>
              </a:rPr>
              <a:t>cost</a:t>
            </a:r>
            <a:r>
              <a:rPr lang="es-AR" sz="1400" b="1" i="0" u="none" strike="noStrike">
                <a:solidFill>
                  <a:srgbClr val="000000"/>
                </a:solidFill>
                <a:effectLst/>
                <a:latin typeface="Verdana"/>
                <a:ea typeface="Verdana"/>
              </a:rPr>
              <a:t> in </a:t>
            </a:r>
            <a:r>
              <a:rPr lang="es-AR" sz="1400" b="1" i="0" u="none" strike="noStrike" err="1">
                <a:solidFill>
                  <a:srgbClr val="000000"/>
                </a:solidFill>
                <a:effectLst/>
                <a:latin typeface="Verdana"/>
                <a:ea typeface="Verdana"/>
              </a:rPr>
              <a:t>public</a:t>
            </a:r>
            <a:r>
              <a:rPr lang="es-AR" sz="1400" b="1" i="0" u="none" strike="noStrike">
                <a:solidFill>
                  <a:srgbClr val="000000"/>
                </a:solidFill>
                <a:effectLst/>
                <a:latin typeface="Verdana"/>
                <a:ea typeface="Verdana"/>
              </a:rPr>
              <a:t> </a:t>
            </a:r>
            <a:r>
              <a:rPr lang="es-AR" sz="1400" b="1" i="0" u="none" strike="noStrike" err="1">
                <a:solidFill>
                  <a:srgbClr val="000000"/>
                </a:solidFill>
                <a:effectLst/>
                <a:latin typeface="Verdana"/>
                <a:ea typeface="Verdana"/>
              </a:rPr>
              <a:t>spending</a:t>
            </a:r>
            <a:r>
              <a:rPr lang="es-AR" sz="1400" b="1" i="0" u="none" strike="noStrike">
                <a:solidFill>
                  <a:srgbClr val="000000"/>
                </a:solidFill>
                <a:effectLst/>
                <a:latin typeface="Verdana"/>
                <a:ea typeface="Verdana"/>
              </a:rPr>
              <a:t>:</a:t>
            </a:r>
            <a:r>
              <a:rPr lang="es-AR" sz="1400" b="1">
                <a:solidFill>
                  <a:srgbClr val="000000"/>
                </a:solidFill>
                <a:latin typeface="Verdana"/>
                <a:ea typeface="Verdana"/>
              </a:rPr>
              <a:t> </a:t>
            </a:r>
            <a:r>
              <a:rPr lang="es-AR" sz="1400" b="0" i="0" u="none" strike="noStrike" err="1">
                <a:solidFill>
                  <a:srgbClr val="000000"/>
                </a:solidFill>
                <a:effectLst/>
                <a:latin typeface="Verdana"/>
                <a:ea typeface="Verdana"/>
              </a:rPr>
              <a:t>projected</a:t>
            </a:r>
            <a:r>
              <a:rPr lang="es-AR" sz="1400" b="0" i="0" u="none" strike="noStrike">
                <a:solidFill>
                  <a:srgbClr val="000000"/>
                </a:solidFill>
                <a:effectLst/>
                <a:latin typeface="Verdana"/>
                <a:ea typeface="Verdana"/>
              </a:rPr>
              <a:t> 11.5%</a:t>
            </a:r>
            <a:r>
              <a:rPr lang="es-AR" sz="1400">
                <a:solidFill>
                  <a:srgbClr val="000000"/>
                </a:solidFill>
                <a:latin typeface="Verdana"/>
                <a:ea typeface="Verdana"/>
              </a:rPr>
              <a:t> </a:t>
            </a:r>
            <a:r>
              <a:rPr lang="es-AR" sz="1400" b="0" i="0" u="none" strike="noStrike" err="1">
                <a:solidFill>
                  <a:srgbClr val="000000"/>
                </a:solidFill>
                <a:effectLst/>
                <a:latin typeface="Verdana"/>
                <a:ea typeface="Verdana"/>
              </a:rPr>
              <a:t>of</a:t>
            </a:r>
            <a:r>
              <a:rPr lang="es-AR" sz="1400" b="0" i="0" u="none" strike="noStrike">
                <a:solidFill>
                  <a:srgbClr val="000000"/>
                </a:solidFill>
                <a:effectLst/>
                <a:latin typeface="Verdana"/>
                <a:ea typeface="Verdana"/>
              </a:rPr>
              <a:t> GDP </a:t>
            </a:r>
            <a:r>
              <a:rPr lang="es-AR" sz="1400" b="0" i="0" u="none" strike="noStrike" err="1">
                <a:solidFill>
                  <a:srgbClr val="000000"/>
                </a:solidFill>
                <a:effectLst/>
                <a:latin typeface="Verdana"/>
                <a:ea typeface="Verdana"/>
              </a:rPr>
              <a:t>for</a:t>
            </a:r>
            <a:r>
              <a:rPr lang="es-AR" sz="1400" b="0" i="0" u="none" strike="noStrike">
                <a:solidFill>
                  <a:srgbClr val="000000"/>
                </a:solidFill>
                <a:effectLst/>
                <a:latin typeface="Verdana"/>
                <a:ea typeface="Verdana"/>
              </a:rPr>
              <a:t> 2023.</a:t>
            </a:r>
            <a:endParaRPr lang="en-US" sz="140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Verdana"/>
              <a:ea typeface="Verdana"/>
              <a:cs typeface="Verdana" panose="020B0604030504040204" pitchFamily="34" charset="0"/>
            </a:endParaRPr>
          </a:p>
        </p:txBody>
      </p:sp>
      <p:sp>
        <p:nvSpPr>
          <p:cNvPr id="149" name="Rectangle 144">
            <a:extLst>
              <a:ext uri="{FF2B5EF4-FFF2-40B4-BE49-F238E27FC236}">
                <a16:creationId xmlns:a16="http://schemas.microsoft.com/office/drawing/2014/main" id="{9F8BF5B0-41F1-271F-82B7-82569BBAFF6E}"/>
              </a:ext>
            </a:extLst>
          </p:cNvPr>
          <p:cNvSpPr/>
          <p:nvPr/>
        </p:nvSpPr>
        <p:spPr>
          <a:xfrm>
            <a:off x="1010865" y="3085133"/>
            <a:ext cx="4903839" cy="355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r">
              <a:defRPr/>
            </a:pPr>
            <a:r>
              <a:rPr lang="es-AR" sz="1400" b="1" err="1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I</a:t>
            </a:r>
            <a:r>
              <a:rPr lang="es-AR" sz="1400" b="1" i="0" u="none" strike="noStrike" err="1">
                <a:solidFill>
                  <a:srgbClr val="000000"/>
                </a:solidFill>
                <a:effectLst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nflation</a:t>
            </a:r>
            <a:r>
              <a:rPr lang="es-AR" sz="1400" b="1" i="0" u="none" strike="noStrike">
                <a:solidFill>
                  <a:srgbClr val="000000"/>
                </a:solidFill>
                <a:effectLst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s-AR" sz="1400" b="1" i="0" u="none" strike="noStrike" err="1">
                <a:solidFill>
                  <a:srgbClr val="000000"/>
                </a:solidFill>
                <a:effectLst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on</a:t>
            </a:r>
            <a:r>
              <a:rPr lang="es-AR" sz="1400" b="1" i="0" u="none" strike="noStrike">
                <a:solidFill>
                  <a:srgbClr val="000000"/>
                </a:solidFill>
                <a:effectLst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s-AR" sz="1400" b="1" i="0" u="none" strike="noStrike" err="1">
                <a:solidFill>
                  <a:srgbClr val="000000"/>
                </a:solidFill>
                <a:effectLst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nergy</a:t>
            </a:r>
            <a:r>
              <a:rPr lang="es-AR" sz="1400" b="1" i="0" u="none" strike="noStrike">
                <a:solidFill>
                  <a:srgbClr val="000000"/>
                </a:solidFill>
                <a:effectLst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s-AR" sz="1400" b="1" i="0" u="none" strike="noStrike" err="1">
                <a:solidFill>
                  <a:srgbClr val="000000"/>
                </a:solidFill>
                <a:effectLst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rices</a:t>
            </a:r>
            <a:r>
              <a:rPr lang="es-AR" sz="1400" b="1" i="0" u="none" strike="noStrike">
                <a:solidFill>
                  <a:srgbClr val="000000"/>
                </a:solidFill>
                <a:effectLst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s-AR" sz="1400" i="0" u="none" strike="noStrike">
                <a:solidFill>
                  <a:srgbClr val="000000"/>
                </a:solidFill>
                <a:effectLst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nd </a:t>
            </a:r>
            <a:r>
              <a:rPr lang="es-AR" sz="1400" b="1" i="0" u="none" strike="noStrike" err="1">
                <a:solidFill>
                  <a:srgbClr val="000000"/>
                </a:solidFill>
                <a:effectLst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wage</a:t>
            </a:r>
            <a:r>
              <a:rPr lang="es-AR" sz="1400" b="1" i="0" u="none" strike="noStrike">
                <a:solidFill>
                  <a:srgbClr val="000000"/>
                </a:solidFill>
                <a:effectLst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s-AR" sz="1400" b="1" i="0" u="none" strike="noStrike" err="1">
                <a:solidFill>
                  <a:srgbClr val="000000"/>
                </a:solidFill>
                <a:effectLst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indexation</a:t>
            </a:r>
            <a:endParaRPr lang="en-US" sz="1100" b="1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51" name="Rectangle 144">
            <a:extLst>
              <a:ext uri="{FF2B5EF4-FFF2-40B4-BE49-F238E27FC236}">
                <a16:creationId xmlns:a16="http://schemas.microsoft.com/office/drawing/2014/main" id="{57819C05-EF5B-D9D0-954F-800FA800046D}"/>
              </a:ext>
            </a:extLst>
          </p:cNvPr>
          <p:cNvSpPr/>
          <p:nvPr/>
        </p:nvSpPr>
        <p:spPr>
          <a:xfrm>
            <a:off x="1000158" y="2520446"/>
            <a:ext cx="4903839" cy="355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r"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Record levels of inflation: </a:t>
            </a:r>
            <a:r>
              <a:rPr kumimoji="0" lang="en-US" sz="140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9.6% in 2022-2023</a:t>
            </a:r>
          </a:p>
        </p:txBody>
      </p:sp>
      <p:sp>
        <p:nvSpPr>
          <p:cNvPr id="153" name="CuadroTexto 107">
            <a:extLst>
              <a:ext uri="{FF2B5EF4-FFF2-40B4-BE49-F238E27FC236}">
                <a16:creationId xmlns:a16="http://schemas.microsoft.com/office/drawing/2014/main" id="{88AE42C0-D7AB-F397-7F8A-9388CF05B301}"/>
              </a:ext>
            </a:extLst>
          </p:cNvPr>
          <p:cNvSpPr txBox="1"/>
          <p:nvPr/>
        </p:nvSpPr>
        <p:spPr>
          <a:xfrm>
            <a:off x="2392162" y="4399470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 defTabSz="228600">
              <a:spcAft>
                <a:spcPts val="1200"/>
              </a:spcAft>
            </a:pPr>
            <a:endParaRPr lang="es-AR" noProof="0"/>
          </a:p>
        </p:txBody>
      </p:sp>
      <p:grpSp>
        <p:nvGrpSpPr>
          <p:cNvPr id="158" name="Group 59">
            <a:extLst>
              <a:ext uri="{FF2B5EF4-FFF2-40B4-BE49-F238E27FC236}">
                <a16:creationId xmlns:a16="http://schemas.microsoft.com/office/drawing/2014/main" id="{A2D2064D-124D-3DA9-9CDA-B7C5B58C6118}"/>
              </a:ext>
            </a:extLst>
          </p:cNvPr>
          <p:cNvGrpSpPr>
            <a:grpSpLocks noChangeAspect="1"/>
          </p:cNvGrpSpPr>
          <p:nvPr/>
        </p:nvGrpSpPr>
        <p:grpSpPr>
          <a:xfrm>
            <a:off x="2963989" y="4056804"/>
            <a:ext cx="791999" cy="791999"/>
            <a:chOff x="8678803" y="4699759"/>
            <a:chExt cx="1260000" cy="1260000"/>
          </a:xfrm>
        </p:grpSpPr>
        <p:sp>
          <p:nvSpPr>
            <p:cNvPr id="155" name="Oval 40">
              <a:extLst>
                <a:ext uri="{FF2B5EF4-FFF2-40B4-BE49-F238E27FC236}">
                  <a16:creationId xmlns:a16="http://schemas.microsoft.com/office/drawing/2014/main" id="{077A7D0A-DCA8-7CA0-9BC7-D85DC01192DA}"/>
                </a:ext>
              </a:extLst>
            </p:cNvPr>
            <p:cNvSpPr/>
            <p:nvPr/>
          </p:nvSpPr>
          <p:spPr>
            <a:xfrm>
              <a:off x="8775575" y="4803567"/>
              <a:ext cx="1054783" cy="1054782"/>
            </a:xfrm>
            <a:prstGeom prst="ellipse">
              <a:avLst/>
            </a:prstGeom>
            <a:solidFill>
              <a:srgbClr val="FCD6A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156" name="Oval 41">
              <a:extLst>
                <a:ext uri="{FF2B5EF4-FFF2-40B4-BE49-F238E27FC236}">
                  <a16:creationId xmlns:a16="http://schemas.microsoft.com/office/drawing/2014/main" id="{0BB61676-76D6-46BD-A0C5-320949CFE9D8}"/>
                </a:ext>
              </a:extLst>
            </p:cNvPr>
            <p:cNvSpPr>
              <a:spLocks/>
            </p:cNvSpPr>
            <p:nvPr/>
          </p:nvSpPr>
          <p:spPr>
            <a:xfrm>
              <a:off x="8947155" y="4960089"/>
              <a:ext cx="720000" cy="720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 b="1" spc="-4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157" name="Oval 42">
              <a:extLst>
                <a:ext uri="{FF2B5EF4-FFF2-40B4-BE49-F238E27FC236}">
                  <a16:creationId xmlns:a16="http://schemas.microsoft.com/office/drawing/2014/main" id="{5554957D-279E-84C5-3F01-5BF65992C08D}"/>
                </a:ext>
              </a:extLst>
            </p:cNvPr>
            <p:cNvSpPr/>
            <p:nvPr/>
          </p:nvSpPr>
          <p:spPr>
            <a:xfrm>
              <a:off x="8678803" y="4699759"/>
              <a:ext cx="1260000" cy="1260000"/>
            </a:xfrm>
            <a:prstGeom prst="ellipse">
              <a:avLst/>
            </a:prstGeom>
            <a:noFill/>
            <a:ln>
              <a:solidFill>
                <a:srgbClr val="F68F0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</p:grpSp>
      <p:pic>
        <p:nvPicPr>
          <p:cNvPr id="160" name="Picture 22" descr="Stock Growth Icons - Free SVG &amp; PNG Stock Growth Images - Noun Project">
            <a:extLst>
              <a:ext uri="{FF2B5EF4-FFF2-40B4-BE49-F238E27FC236}">
                <a16:creationId xmlns:a16="http://schemas.microsoft.com/office/drawing/2014/main" id="{E93449AF-1936-CFD9-33E0-2DBEE17130E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17477" y="4153573"/>
            <a:ext cx="522737" cy="5426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2" name="Picture 20" descr="Tax Planning Icons - Free SVG &amp; PNG Tax Planning Images - Noun Project">
            <a:extLst>
              <a:ext uri="{FF2B5EF4-FFF2-40B4-BE49-F238E27FC236}">
                <a16:creationId xmlns:a16="http://schemas.microsoft.com/office/drawing/2014/main" id="{2BD9F6C9-B8DD-1606-14A5-A5133046CA6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8110" y="2481011"/>
            <a:ext cx="398285" cy="4396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Graphic 2" descr="Bank outline">
            <a:extLst>
              <a:ext uri="{FF2B5EF4-FFF2-40B4-BE49-F238E27FC236}">
                <a16:creationId xmlns:a16="http://schemas.microsoft.com/office/drawing/2014/main" id="{6FB99991-7FF7-E0EA-7E3B-17B7B0035C38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10596319" y="4179490"/>
            <a:ext cx="457864" cy="457864"/>
          </a:xfrm>
          <a:prstGeom prst="rect">
            <a:avLst/>
          </a:prstGeom>
        </p:spPr>
      </p:pic>
      <p:sp>
        <p:nvSpPr>
          <p:cNvPr id="2" name="CasellaDiTesto 1">
            <a:extLst>
              <a:ext uri="{FF2B5EF4-FFF2-40B4-BE49-F238E27FC236}">
                <a16:creationId xmlns:a16="http://schemas.microsoft.com/office/drawing/2014/main" id="{A459C8E2-F0FE-2352-B053-1210BD87E10E}"/>
              </a:ext>
            </a:extLst>
          </p:cNvPr>
          <p:cNvSpPr txBox="1"/>
          <p:nvPr/>
        </p:nvSpPr>
        <p:spPr>
          <a:xfrm>
            <a:off x="383142" y="266461"/>
            <a:ext cx="1027313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3600" b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2. Critical Issues</a:t>
            </a:r>
          </a:p>
        </p:txBody>
      </p:sp>
    </p:spTree>
    <p:extLst>
      <p:ext uri="{BB962C8B-B14F-4D97-AF65-F5344CB8AC3E}">
        <p14:creationId xmlns:p14="http://schemas.microsoft.com/office/powerpoint/2010/main" val="3648961791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6925215E-8B86-1D25-DE69-B6848490876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3" name="Segnaposto contenuto 2">
            <a:extLst>
              <a:ext uri="{FF2B5EF4-FFF2-40B4-BE49-F238E27FC236}">
                <a16:creationId xmlns:a16="http://schemas.microsoft.com/office/drawing/2014/main" id="{C9514AEE-C107-6AB5-B139-8087389ED5A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49775" y="2005055"/>
            <a:ext cx="10515600" cy="4351338"/>
          </a:xfrm>
          <a:solidFill>
            <a:schemeClr val="bg1"/>
          </a:solidFill>
        </p:spPr>
        <p:txBody>
          <a:bodyPr/>
          <a:lstStyle/>
          <a:p>
            <a:endParaRPr lang="it-IT"/>
          </a:p>
        </p:txBody>
      </p:sp>
      <p:sp>
        <p:nvSpPr>
          <p:cNvPr id="4" name="Rectangle 7">
            <a:extLst>
              <a:ext uri="{FF2B5EF4-FFF2-40B4-BE49-F238E27FC236}">
                <a16:creationId xmlns:a16="http://schemas.microsoft.com/office/drawing/2014/main" id="{8557FA60-8E7B-4813-07FA-96F15D45F59F}"/>
              </a:ext>
            </a:extLst>
          </p:cNvPr>
          <p:cNvSpPr/>
          <p:nvPr/>
        </p:nvSpPr>
        <p:spPr>
          <a:xfrm>
            <a:off x="0" y="0"/>
            <a:ext cx="12192000" cy="6871648"/>
          </a:xfrm>
          <a:prstGeom prst="rect">
            <a:avLst/>
          </a:prstGeom>
          <a:solidFill>
            <a:srgbClr val="FCE7CA"/>
          </a:solidFill>
          <a:effectLst/>
        </p:spPr>
        <p:txBody>
          <a:bodyPr lIns="108000" tIns="72000" rIns="72000" bIns="72000" anchor="ctr"/>
          <a:lstStyle/>
          <a:p>
            <a:pPr defTabSz="1087636"/>
            <a:endParaRPr lang="en-US" sz="140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5" name="Rettangolo con angoli arrotondati 14">
            <a:extLst>
              <a:ext uri="{FF2B5EF4-FFF2-40B4-BE49-F238E27FC236}">
                <a16:creationId xmlns:a16="http://schemas.microsoft.com/office/drawing/2014/main" id="{DD044F44-C09A-50FC-1BE7-2DC47B873350}"/>
              </a:ext>
            </a:extLst>
          </p:cNvPr>
          <p:cNvSpPr/>
          <p:nvPr/>
        </p:nvSpPr>
        <p:spPr>
          <a:xfrm>
            <a:off x="508878" y="1403740"/>
            <a:ext cx="2532185" cy="4958862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16" name="Rettangolo con angoli arrotondati 15">
            <a:extLst>
              <a:ext uri="{FF2B5EF4-FFF2-40B4-BE49-F238E27FC236}">
                <a16:creationId xmlns:a16="http://schemas.microsoft.com/office/drawing/2014/main" id="{124CC902-EB04-EAF3-9928-993B4CDB75C2}"/>
              </a:ext>
            </a:extLst>
          </p:cNvPr>
          <p:cNvSpPr/>
          <p:nvPr/>
        </p:nvSpPr>
        <p:spPr>
          <a:xfrm>
            <a:off x="3381960" y="1397531"/>
            <a:ext cx="2532185" cy="4958862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17" name="Rettangolo con angoli arrotondati 16">
            <a:extLst>
              <a:ext uri="{FF2B5EF4-FFF2-40B4-BE49-F238E27FC236}">
                <a16:creationId xmlns:a16="http://schemas.microsoft.com/office/drawing/2014/main" id="{C924E64A-175C-6354-A4E4-D0F29167AAE4}"/>
              </a:ext>
            </a:extLst>
          </p:cNvPr>
          <p:cNvSpPr/>
          <p:nvPr/>
        </p:nvSpPr>
        <p:spPr>
          <a:xfrm>
            <a:off x="6315657" y="1397531"/>
            <a:ext cx="2532185" cy="4958862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18" name="Rettangolo con angoli arrotondati 17">
            <a:extLst>
              <a:ext uri="{FF2B5EF4-FFF2-40B4-BE49-F238E27FC236}">
                <a16:creationId xmlns:a16="http://schemas.microsoft.com/office/drawing/2014/main" id="{1A814310-AEE1-7B53-8BC6-A037FDF29403}"/>
              </a:ext>
            </a:extLst>
          </p:cNvPr>
          <p:cNvSpPr/>
          <p:nvPr/>
        </p:nvSpPr>
        <p:spPr>
          <a:xfrm>
            <a:off x="9237332" y="1418629"/>
            <a:ext cx="2532185" cy="4958862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pic>
        <p:nvPicPr>
          <p:cNvPr id="19" name="Picture 20" descr="Tax Planning Icons - Free SVG &amp; PNG Tax Planning Images - Noun Project">
            <a:extLst>
              <a:ext uri="{FF2B5EF4-FFF2-40B4-BE49-F238E27FC236}">
                <a16:creationId xmlns:a16="http://schemas.microsoft.com/office/drawing/2014/main" id="{F279C963-FB9D-927E-3AC6-EB4AABA4BF9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84362" y="5440219"/>
            <a:ext cx="712829" cy="7869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" name="Picture 14" descr="Pension Basic Rounded Lineal icon">
            <a:extLst>
              <a:ext uri="{FF2B5EF4-FFF2-40B4-BE49-F238E27FC236}">
                <a16:creationId xmlns:a16="http://schemas.microsoft.com/office/drawing/2014/main" id="{FB4CA64F-957C-3E6A-A7C6-BBD7734D390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52182" y="5425125"/>
            <a:ext cx="655095" cy="7869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" name="Picture 16" descr="Climate Change Icon - Free PNG &amp; SVG 1030201 - Noun Project">
            <a:extLst>
              <a:ext uri="{FF2B5EF4-FFF2-40B4-BE49-F238E27FC236}">
                <a16:creationId xmlns:a16="http://schemas.microsoft.com/office/drawing/2014/main" id="{17801260-E037-E6DC-D0C2-9E7F8C93FE0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40987" y="5492746"/>
            <a:ext cx="881523" cy="7997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2" name="Picture 22" descr="Stock Growth Icons - Free SVG &amp; PNG Stock Growth Images - Noun Project">
            <a:extLst>
              <a:ext uri="{FF2B5EF4-FFF2-40B4-BE49-F238E27FC236}">
                <a16:creationId xmlns:a16="http://schemas.microsoft.com/office/drawing/2014/main" id="{7C6FE8AB-D5FD-88C1-DB99-D2068B3FFE2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84589" y="5354057"/>
            <a:ext cx="1037670" cy="10771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6" name="CasellaDiTesto 25">
            <a:extLst>
              <a:ext uri="{FF2B5EF4-FFF2-40B4-BE49-F238E27FC236}">
                <a16:creationId xmlns:a16="http://schemas.microsoft.com/office/drawing/2014/main" id="{B2405B76-19DE-8C6E-F40A-AC088BF2A0A4}"/>
              </a:ext>
            </a:extLst>
          </p:cNvPr>
          <p:cNvSpPr txBox="1"/>
          <p:nvPr/>
        </p:nvSpPr>
        <p:spPr>
          <a:xfrm>
            <a:off x="383142" y="266461"/>
            <a:ext cx="1027313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3600" b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3. </a:t>
            </a:r>
            <a:r>
              <a:rPr lang="it-IT" sz="3600" b="1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conomic</a:t>
            </a:r>
            <a:r>
              <a:rPr lang="it-IT" sz="3600" b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it-IT" sz="3600" b="1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Reforms</a:t>
            </a:r>
            <a:endParaRPr lang="it-IT" sz="3600" b="1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7" name="CasellaDiTesto 26">
            <a:extLst>
              <a:ext uri="{FF2B5EF4-FFF2-40B4-BE49-F238E27FC236}">
                <a16:creationId xmlns:a16="http://schemas.microsoft.com/office/drawing/2014/main" id="{AE69EEC9-DA6A-799C-AA6B-D7F54B8157B9}"/>
              </a:ext>
            </a:extLst>
          </p:cNvPr>
          <p:cNvSpPr txBox="1"/>
          <p:nvPr/>
        </p:nvSpPr>
        <p:spPr>
          <a:xfrm>
            <a:off x="961737" y="1623777"/>
            <a:ext cx="169770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1600" b="1">
                <a:solidFill>
                  <a:schemeClr val="tx1">
                    <a:lumMod val="50000"/>
                    <a:lumOff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ax </a:t>
            </a:r>
            <a:r>
              <a:rPr lang="it-IT" sz="1600" b="1" err="1">
                <a:solidFill>
                  <a:schemeClr val="tx1">
                    <a:lumMod val="50000"/>
                    <a:lumOff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reform</a:t>
            </a:r>
            <a:endParaRPr lang="it-IT" sz="1600" b="1">
              <a:solidFill>
                <a:schemeClr val="tx1">
                  <a:lumMod val="50000"/>
                  <a:lumOff val="50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36" name="CasellaDiTesto 35">
            <a:extLst>
              <a:ext uri="{FF2B5EF4-FFF2-40B4-BE49-F238E27FC236}">
                <a16:creationId xmlns:a16="http://schemas.microsoft.com/office/drawing/2014/main" id="{5D2DE659-50F4-BAA1-2B64-FC0828E4E69A}"/>
              </a:ext>
            </a:extLst>
          </p:cNvPr>
          <p:cNvSpPr txBox="1"/>
          <p:nvPr/>
        </p:nvSpPr>
        <p:spPr>
          <a:xfrm>
            <a:off x="6399788" y="1620835"/>
            <a:ext cx="2436284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sz="1500" b="1" err="1">
                <a:solidFill>
                  <a:schemeClr val="tx1">
                    <a:lumMod val="50000"/>
                    <a:lumOff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limate</a:t>
            </a:r>
            <a:r>
              <a:rPr lang="it-IT" sz="1500" b="1">
                <a:solidFill>
                  <a:schemeClr val="tx1">
                    <a:lumMod val="50000"/>
                    <a:lumOff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it-IT" sz="1500" b="1" err="1">
                <a:solidFill>
                  <a:schemeClr val="tx1">
                    <a:lumMod val="50000"/>
                    <a:lumOff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hange</a:t>
            </a:r>
            <a:r>
              <a:rPr lang="it-IT" sz="1500" b="1">
                <a:solidFill>
                  <a:schemeClr val="tx1">
                    <a:lumMod val="50000"/>
                    <a:lumOff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it-IT" sz="1500" b="1" err="1">
                <a:solidFill>
                  <a:schemeClr val="tx1">
                    <a:lumMod val="50000"/>
                    <a:lumOff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reform</a:t>
            </a:r>
            <a:endParaRPr lang="it-IT" sz="1500" b="1">
              <a:solidFill>
                <a:schemeClr val="tx1">
                  <a:lumMod val="50000"/>
                  <a:lumOff val="50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37" name="CasellaDiTesto 36">
            <a:extLst>
              <a:ext uri="{FF2B5EF4-FFF2-40B4-BE49-F238E27FC236}">
                <a16:creationId xmlns:a16="http://schemas.microsoft.com/office/drawing/2014/main" id="{CE524306-201C-E549-01C5-6E653D02B922}"/>
              </a:ext>
            </a:extLst>
          </p:cNvPr>
          <p:cNvSpPr txBox="1"/>
          <p:nvPr/>
        </p:nvSpPr>
        <p:spPr>
          <a:xfrm>
            <a:off x="3543846" y="1630461"/>
            <a:ext cx="233775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sz="1600" b="1" err="1">
                <a:solidFill>
                  <a:schemeClr val="tx1">
                    <a:lumMod val="50000"/>
                    <a:lumOff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ension</a:t>
            </a:r>
            <a:r>
              <a:rPr lang="it-IT" sz="1600" b="1">
                <a:solidFill>
                  <a:schemeClr val="tx1">
                    <a:lumMod val="50000"/>
                    <a:lumOff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it-IT" sz="1600" b="1" err="1">
                <a:solidFill>
                  <a:schemeClr val="tx1">
                    <a:lumMod val="50000"/>
                    <a:lumOff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reform</a:t>
            </a:r>
            <a:endParaRPr lang="it-IT" sz="1600" b="1">
              <a:solidFill>
                <a:schemeClr val="tx1">
                  <a:lumMod val="50000"/>
                  <a:lumOff val="50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38" name="CasellaDiTesto 37">
            <a:extLst>
              <a:ext uri="{FF2B5EF4-FFF2-40B4-BE49-F238E27FC236}">
                <a16:creationId xmlns:a16="http://schemas.microsoft.com/office/drawing/2014/main" id="{0BEB055D-0595-4EE8-14D3-40E32434AE5B}"/>
              </a:ext>
            </a:extLst>
          </p:cNvPr>
          <p:cNvSpPr txBox="1"/>
          <p:nvPr/>
        </p:nvSpPr>
        <p:spPr>
          <a:xfrm>
            <a:off x="9560236" y="1584384"/>
            <a:ext cx="1881851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sz="1400" b="1">
                <a:solidFill>
                  <a:schemeClr val="tx1">
                    <a:lumMod val="50000"/>
                    <a:lumOff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National </a:t>
            </a:r>
            <a:r>
              <a:rPr lang="it-IT" sz="1400" b="1" err="1">
                <a:solidFill>
                  <a:schemeClr val="tx1">
                    <a:lumMod val="50000"/>
                    <a:lumOff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act</a:t>
            </a:r>
            <a:r>
              <a:rPr lang="it-IT" sz="1400" b="1">
                <a:solidFill>
                  <a:schemeClr val="tx1">
                    <a:lumMod val="50000"/>
                    <a:lumOff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for Strategic Investments</a:t>
            </a:r>
          </a:p>
        </p:txBody>
      </p:sp>
      <p:sp>
        <p:nvSpPr>
          <p:cNvPr id="39" name="CasellaDiTesto 38">
            <a:extLst>
              <a:ext uri="{FF2B5EF4-FFF2-40B4-BE49-F238E27FC236}">
                <a16:creationId xmlns:a16="http://schemas.microsoft.com/office/drawing/2014/main" id="{DB7659EA-C5E7-5965-49C1-B8538B17C4CC}"/>
              </a:ext>
            </a:extLst>
          </p:cNvPr>
          <p:cNvSpPr txBox="1"/>
          <p:nvPr/>
        </p:nvSpPr>
        <p:spPr>
          <a:xfrm>
            <a:off x="660523" y="2405891"/>
            <a:ext cx="2363920" cy="263149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it-IT" sz="1500"/>
              <a:t>Labor → </a:t>
            </a:r>
            <a:r>
              <a:rPr lang="it-IT" sz="1500" b="1" err="1"/>
              <a:t>consumption</a:t>
            </a:r>
            <a:r>
              <a:rPr lang="it-IT" sz="1500" b="1"/>
              <a:t> tax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it-IT" sz="150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it-IT" sz="1500" b="1"/>
              <a:t>Tax-free </a:t>
            </a:r>
            <a:r>
              <a:rPr lang="it-IT" sz="1500" b="1" err="1"/>
              <a:t>amount</a:t>
            </a:r>
            <a:r>
              <a:rPr lang="it-IT" sz="1500" b="1"/>
              <a:t> </a:t>
            </a:r>
            <a:r>
              <a:rPr lang="it-IT" sz="1500"/>
              <a:t>↑, </a:t>
            </a:r>
            <a:r>
              <a:rPr lang="it-IT" sz="1500" err="1"/>
              <a:t>adjustment</a:t>
            </a:r>
            <a:r>
              <a:rPr lang="it-IT" sz="1500"/>
              <a:t> of tax </a:t>
            </a:r>
            <a:r>
              <a:rPr lang="it-IT" sz="1500" err="1"/>
              <a:t>bracket</a:t>
            </a:r>
            <a:endParaRPr lang="it-IT" sz="150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it-IT" sz="150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it-IT" sz="1500" b="1"/>
              <a:t>Global Minimum Tax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it-IT" sz="150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it-IT" sz="1500" b="1" err="1"/>
              <a:t>Notional</a:t>
            </a:r>
            <a:r>
              <a:rPr lang="it-IT" sz="1500" b="1"/>
              <a:t> </a:t>
            </a:r>
            <a:r>
              <a:rPr lang="it-IT" sz="1500" b="1" err="1"/>
              <a:t>interest</a:t>
            </a:r>
            <a:r>
              <a:rPr lang="it-IT" sz="1500" b="1"/>
              <a:t> </a:t>
            </a:r>
            <a:r>
              <a:rPr lang="it-IT" sz="1500" b="1" err="1"/>
              <a:t>deduction</a:t>
            </a:r>
            <a:endParaRPr lang="it-IT" sz="1500" b="1"/>
          </a:p>
        </p:txBody>
      </p:sp>
      <p:sp>
        <p:nvSpPr>
          <p:cNvPr id="41" name="CasellaDiTesto 40">
            <a:extLst>
              <a:ext uri="{FF2B5EF4-FFF2-40B4-BE49-F238E27FC236}">
                <a16:creationId xmlns:a16="http://schemas.microsoft.com/office/drawing/2014/main" id="{45C16CD0-7CFD-9F44-B178-8C35122DDF71}"/>
              </a:ext>
            </a:extLst>
          </p:cNvPr>
          <p:cNvSpPr txBox="1"/>
          <p:nvPr/>
        </p:nvSpPr>
        <p:spPr>
          <a:xfrm>
            <a:off x="3497769" y="2463118"/>
            <a:ext cx="2363920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it-IT" sz="1500" b="1" err="1"/>
              <a:t>Increase</a:t>
            </a:r>
            <a:r>
              <a:rPr lang="it-IT" sz="1500" b="1"/>
              <a:t> </a:t>
            </a:r>
            <a:r>
              <a:rPr lang="it-IT" sz="1500"/>
              <a:t>in </a:t>
            </a:r>
            <a:r>
              <a:rPr lang="it-IT" sz="1500" err="1"/>
              <a:t>retirement</a:t>
            </a:r>
            <a:r>
              <a:rPr lang="it-IT" sz="1500"/>
              <a:t> age</a:t>
            </a:r>
            <a:endParaRPr lang="it-IT" sz="1500" b="1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it-IT" sz="150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it-IT" sz="1500" b="1" err="1"/>
              <a:t>Pensions</a:t>
            </a:r>
            <a:r>
              <a:rPr lang="it-IT" sz="1500" b="1"/>
              <a:t> bonus</a:t>
            </a:r>
            <a:endParaRPr lang="it-IT" sz="150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it-IT" sz="150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it-IT" sz="1500" err="1"/>
              <a:t>Doubling</a:t>
            </a:r>
            <a:r>
              <a:rPr lang="it-IT" sz="1500"/>
              <a:t> of </a:t>
            </a:r>
            <a:r>
              <a:rPr lang="it-IT" sz="1500" b="1"/>
              <a:t>‘</a:t>
            </a:r>
            <a:r>
              <a:rPr lang="it-IT" sz="1500" b="1" err="1"/>
              <a:t>Wijninckx</a:t>
            </a:r>
            <a:r>
              <a:rPr lang="it-IT" sz="1500" b="1"/>
              <a:t>’</a:t>
            </a:r>
          </a:p>
        </p:txBody>
      </p:sp>
      <p:sp>
        <p:nvSpPr>
          <p:cNvPr id="42" name="CasellaDiTesto 41">
            <a:extLst>
              <a:ext uri="{FF2B5EF4-FFF2-40B4-BE49-F238E27FC236}">
                <a16:creationId xmlns:a16="http://schemas.microsoft.com/office/drawing/2014/main" id="{2F9F4A45-EFD0-3B52-A2D1-5F3568CF3937}"/>
              </a:ext>
            </a:extLst>
          </p:cNvPr>
          <p:cNvSpPr txBox="1"/>
          <p:nvPr/>
        </p:nvSpPr>
        <p:spPr>
          <a:xfrm>
            <a:off x="6399788" y="2450973"/>
            <a:ext cx="2363920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it-IT" sz="1500" b="1" err="1"/>
              <a:t>Sustainable</a:t>
            </a:r>
            <a:r>
              <a:rPr lang="it-IT" sz="1500" b="1"/>
              <a:t> energy sourc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it-IT" sz="150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it-IT" sz="1500" b="1"/>
              <a:t>Investments in ’</a:t>
            </a:r>
            <a:r>
              <a:rPr lang="it-IT" sz="1500" b="1" err="1"/>
              <a:t>greener</a:t>
            </a:r>
            <a:r>
              <a:rPr lang="it-IT" sz="1500" b="1"/>
              <a:t> </a:t>
            </a:r>
            <a:r>
              <a:rPr lang="it-IT" sz="1500" b="1" err="1"/>
              <a:t>solutions</a:t>
            </a:r>
            <a:r>
              <a:rPr lang="it-IT" sz="1500" b="1"/>
              <a:t>’</a:t>
            </a:r>
            <a:endParaRPr lang="it-IT" sz="150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it-IT" sz="150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it-IT" sz="1500" b="1" err="1"/>
              <a:t>Resilience</a:t>
            </a:r>
            <a:r>
              <a:rPr lang="it-IT" sz="1500" b="1"/>
              <a:t> plan </a:t>
            </a:r>
            <a:r>
              <a:rPr lang="it-IT" sz="1500"/>
              <a:t>for COVID-19</a:t>
            </a:r>
          </a:p>
        </p:txBody>
      </p:sp>
      <p:sp>
        <p:nvSpPr>
          <p:cNvPr id="43" name="CasellaDiTesto 42">
            <a:extLst>
              <a:ext uri="{FF2B5EF4-FFF2-40B4-BE49-F238E27FC236}">
                <a16:creationId xmlns:a16="http://schemas.microsoft.com/office/drawing/2014/main" id="{2E0CB68F-8245-9C6D-EE13-9284D13FF5AE}"/>
              </a:ext>
            </a:extLst>
          </p:cNvPr>
          <p:cNvSpPr txBox="1"/>
          <p:nvPr/>
        </p:nvSpPr>
        <p:spPr>
          <a:xfrm>
            <a:off x="9319202" y="2470560"/>
            <a:ext cx="2363920" cy="256993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it-IT" sz="1500" b="1"/>
              <a:t>150 </a:t>
            </a:r>
            <a:r>
              <a:rPr lang="it-IT" sz="1500" b="1" err="1"/>
              <a:t>billion</a:t>
            </a:r>
            <a:r>
              <a:rPr lang="it-IT" sz="1500" b="1"/>
              <a:t> </a:t>
            </a:r>
            <a:r>
              <a:rPr lang="it-IT" sz="1500" b="1" err="1"/>
              <a:t>euros</a:t>
            </a:r>
            <a:r>
              <a:rPr lang="it-IT" sz="1500" b="1"/>
              <a:t> </a:t>
            </a:r>
            <a:r>
              <a:rPr lang="it-IT" sz="1500"/>
              <a:t>investment</a:t>
            </a:r>
            <a:r>
              <a:rPr lang="it-IT" sz="1500" b="1"/>
              <a:t> </a:t>
            </a:r>
            <a:r>
              <a:rPr lang="it-IT" sz="1500"/>
              <a:t>by 2030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it-IT" sz="1500" b="1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it-IT" sz="1500" err="1"/>
              <a:t>Infrastructure</a:t>
            </a:r>
            <a:r>
              <a:rPr lang="it-IT" sz="1500"/>
              <a:t>, </a:t>
            </a:r>
            <a:r>
              <a:rPr lang="it-IT" sz="1500" err="1"/>
              <a:t>digitalization</a:t>
            </a:r>
            <a:r>
              <a:rPr lang="it-IT" sz="1500"/>
              <a:t>, energy, health, </a:t>
            </a:r>
            <a:r>
              <a:rPr lang="it-IT" sz="1500" err="1"/>
              <a:t>education</a:t>
            </a:r>
            <a:endParaRPr lang="it-IT" sz="150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it-IT" sz="1500" b="1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kern="0">
                <a:effectLst/>
                <a:latin typeface="Segoe UI"/>
                <a:ea typeface="Times New Roman" panose="02020603050405020304" pitchFamily="18" charset="0"/>
                <a:cs typeface="Times New Roman"/>
              </a:rPr>
              <a:t>Aimed at </a:t>
            </a:r>
            <a:r>
              <a:rPr lang="en-US" sz="1400" b="1" kern="0">
                <a:effectLst/>
                <a:latin typeface="Segoe UI"/>
                <a:ea typeface="Times New Roman" panose="02020603050405020304" pitchFamily="18" charset="0"/>
                <a:cs typeface="Times New Roman"/>
              </a:rPr>
              <a:t>innovation, job creation,</a:t>
            </a:r>
            <a:r>
              <a:rPr lang="en-US" sz="1400" kern="0">
                <a:effectLst/>
                <a:latin typeface="Segoe UI"/>
                <a:ea typeface="Times New Roman" panose="02020603050405020304" pitchFamily="18" charset="0"/>
                <a:cs typeface="Times New Roman"/>
              </a:rPr>
              <a:t> and support for green and</a:t>
            </a:r>
            <a:r>
              <a:rPr lang="en-US" sz="1400" b="1" kern="0">
                <a:effectLst/>
                <a:latin typeface="Segoe UI"/>
                <a:ea typeface="Times New Roman" panose="02020603050405020304" pitchFamily="18" charset="0"/>
                <a:cs typeface="Times New Roman"/>
              </a:rPr>
              <a:t> digital transitions</a:t>
            </a:r>
            <a:endParaRPr lang="it-IT" sz="1400"/>
          </a:p>
        </p:txBody>
      </p:sp>
    </p:spTree>
    <p:extLst>
      <p:ext uri="{BB962C8B-B14F-4D97-AF65-F5344CB8AC3E}">
        <p14:creationId xmlns:p14="http://schemas.microsoft.com/office/powerpoint/2010/main" val="129447240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6925215E-8B86-1D25-DE69-B6848490876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3" name="Segnaposto contenuto 2">
            <a:extLst>
              <a:ext uri="{FF2B5EF4-FFF2-40B4-BE49-F238E27FC236}">
                <a16:creationId xmlns:a16="http://schemas.microsoft.com/office/drawing/2014/main" id="{C9514AEE-C107-6AB5-B139-8087389ED5A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2015461"/>
            <a:ext cx="10515600" cy="4351338"/>
          </a:xfrm>
          <a:solidFill>
            <a:schemeClr val="bg1"/>
          </a:solidFill>
        </p:spPr>
        <p:txBody>
          <a:bodyPr/>
          <a:lstStyle/>
          <a:p>
            <a:endParaRPr lang="it-IT"/>
          </a:p>
        </p:txBody>
      </p:sp>
      <p:sp>
        <p:nvSpPr>
          <p:cNvPr id="4" name="Rectangle 7">
            <a:extLst>
              <a:ext uri="{FF2B5EF4-FFF2-40B4-BE49-F238E27FC236}">
                <a16:creationId xmlns:a16="http://schemas.microsoft.com/office/drawing/2014/main" id="{8557FA60-8E7B-4813-07FA-96F15D45F59F}"/>
              </a:ext>
            </a:extLst>
          </p:cNvPr>
          <p:cNvSpPr/>
          <p:nvPr/>
        </p:nvSpPr>
        <p:spPr>
          <a:xfrm>
            <a:off x="0" y="0"/>
            <a:ext cx="12192000" cy="6871648"/>
          </a:xfrm>
          <a:prstGeom prst="rect">
            <a:avLst/>
          </a:prstGeom>
          <a:solidFill>
            <a:srgbClr val="FCE7CA"/>
          </a:solidFill>
          <a:effectLst/>
        </p:spPr>
        <p:txBody>
          <a:bodyPr lIns="108000" tIns="72000" rIns="72000" bIns="72000" anchor="ctr"/>
          <a:lstStyle/>
          <a:p>
            <a:pPr defTabSz="1087636"/>
            <a:endParaRPr lang="en-US" sz="140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5" name="Rettangolo con angoli arrotondati 14">
            <a:extLst>
              <a:ext uri="{FF2B5EF4-FFF2-40B4-BE49-F238E27FC236}">
                <a16:creationId xmlns:a16="http://schemas.microsoft.com/office/drawing/2014/main" id="{DD044F44-C09A-50FC-1BE7-2DC47B873350}"/>
              </a:ext>
            </a:extLst>
          </p:cNvPr>
          <p:cNvSpPr/>
          <p:nvPr/>
        </p:nvSpPr>
        <p:spPr>
          <a:xfrm>
            <a:off x="509242" y="1407937"/>
            <a:ext cx="2532185" cy="4958862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16" name="Rettangolo con angoli arrotondati 15">
            <a:extLst>
              <a:ext uri="{FF2B5EF4-FFF2-40B4-BE49-F238E27FC236}">
                <a16:creationId xmlns:a16="http://schemas.microsoft.com/office/drawing/2014/main" id="{124CC902-EB04-EAF3-9928-993B4CDB75C2}"/>
              </a:ext>
            </a:extLst>
          </p:cNvPr>
          <p:cNvSpPr/>
          <p:nvPr/>
        </p:nvSpPr>
        <p:spPr>
          <a:xfrm>
            <a:off x="3370385" y="1407937"/>
            <a:ext cx="2532185" cy="4958862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17" name="Rettangolo con angoli arrotondati 16">
            <a:extLst>
              <a:ext uri="{FF2B5EF4-FFF2-40B4-BE49-F238E27FC236}">
                <a16:creationId xmlns:a16="http://schemas.microsoft.com/office/drawing/2014/main" id="{C924E64A-175C-6354-A4E4-D0F29167AAE4}"/>
              </a:ext>
            </a:extLst>
          </p:cNvPr>
          <p:cNvSpPr/>
          <p:nvPr/>
        </p:nvSpPr>
        <p:spPr>
          <a:xfrm>
            <a:off x="6304082" y="1407937"/>
            <a:ext cx="2532185" cy="4958862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18" name="Rettangolo con angoli arrotondati 17">
            <a:extLst>
              <a:ext uri="{FF2B5EF4-FFF2-40B4-BE49-F238E27FC236}">
                <a16:creationId xmlns:a16="http://schemas.microsoft.com/office/drawing/2014/main" id="{1A814310-AEE1-7B53-8BC6-A037FDF29403}"/>
              </a:ext>
            </a:extLst>
          </p:cNvPr>
          <p:cNvSpPr/>
          <p:nvPr/>
        </p:nvSpPr>
        <p:spPr>
          <a:xfrm>
            <a:off x="9225757" y="1429035"/>
            <a:ext cx="2532185" cy="4958862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26" name="CasellaDiTesto 25">
            <a:extLst>
              <a:ext uri="{FF2B5EF4-FFF2-40B4-BE49-F238E27FC236}">
                <a16:creationId xmlns:a16="http://schemas.microsoft.com/office/drawing/2014/main" id="{B2405B76-19DE-8C6E-F40A-AC088BF2A0A4}"/>
              </a:ext>
            </a:extLst>
          </p:cNvPr>
          <p:cNvSpPr txBox="1"/>
          <p:nvPr/>
        </p:nvSpPr>
        <p:spPr>
          <a:xfrm>
            <a:off x="383142" y="266461"/>
            <a:ext cx="1027313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3600" b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4. </a:t>
            </a:r>
            <a:r>
              <a:rPr lang="it-IT" sz="3600" b="1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Recommendations</a:t>
            </a:r>
            <a:endParaRPr lang="it-IT" sz="3600" b="1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7" name="CasellaDiTesto 26">
            <a:extLst>
              <a:ext uri="{FF2B5EF4-FFF2-40B4-BE49-F238E27FC236}">
                <a16:creationId xmlns:a16="http://schemas.microsoft.com/office/drawing/2014/main" id="{AE69EEC9-DA6A-799C-AA6B-D7F54B8157B9}"/>
              </a:ext>
            </a:extLst>
          </p:cNvPr>
          <p:cNvSpPr txBox="1"/>
          <p:nvPr/>
        </p:nvSpPr>
        <p:spPr>
          <a:xfrm>
            <a:off x="950162" y="1634183"/>
            <a:ext cx="1827762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1600" b="1">
                <a:solidFill>
                  <a:schemeClr val="tx1">
                    <a:lumMod val="50000"/>
                    <a:lumOff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Binding Fiscal Framework</a:t>
            </a:r>
          </a:p>
        </p:txBody>
      </p:sp>
      <p:sp>
        <p:nvSpPr>
          <p:cNvPr id="36" name="CasellaDiTesto 35">
            <a:extLst>
              <a:ext uri="{FF2B5EF4-FFF2-40B4-BE49-F238E27FC236}">
                <a16:creationId xmlns:a16="http://schemas.microsoft.com/office/drawing/2014/main" id="{5D2DE659-50F4-BAA1-2B64-FC0828E4E69A}"/>
              </a:ext>
            </a:extLst>
          </p:cNvPr>
          <p:cNvSpPr txBox="1"/>
          <p:nvPr/>
        </p:nvSpPr>
        <p:spPr>
          <a:xfrm>
            <a:off x="6388213" y="1631241"/>
            <a:ext cx="2436284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sz="1500" b="1">
                <a:solidFill>
                  <a:schemeClr val="tx1">
                    <a:lumMod val="50000"/>
                    <a:lumOff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Hub for </a:t>
            </a:r>
            <a:r>
              <a:rPr lang="it-IT" sz="1500" b="1" err="1">
                <a:solidFill>
                  <a:schemeClr val="tx1">
                    <a:lumMod val="50000"/>
                    <a:lumOff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Renewable</a:t>
            </a:r>
            <a:r>
              <a:rPr lang="it-IT" sz="1500" b="1">
                <a:solidFill>
                  <a:schemeClr val="tx1">
                    <a:lumMod val="50000"/>
                    <a:lumOff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Energy</a:t>
            </a:r>
          </a:p>
        </p:txBody>
      </p:sp>
      <p:sp>
        <p:nvSpPr>
          <p:cNvPr id="37" name="CasellaDiTesto 36">
            <a:extLst>
              <a:ext uri="{FF2B5EF4-FFF2-40B4-BE49-F238E27FC236}">
                <a16:creationId xmlns:a16="http://schemas.microsoft.com/office/drawing/2014/main" id="{CE524306-201C-E549-01C5-6E653D02B922}"/>
              </a:ext>
            </a:extLst>
          </p:cNvPr>
          <p:cNvSpPr txBox="1"/>
          <p:nvPr/>
        </p:nvSpPr>
        <p:spPr>
          <a:xfrm>
            <a:off x="3532271" y="1640867"/>
            <a:ext cx="2337753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sz="1600" b="1" err="1">
                <a:solidFill>
                  <a:schemeClr val="tx1">
                    <a:lumMod val="50000"/>
                    <a:lumOff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Reducing</a:t>
            </a:r>
            <a:r>
              <a:rPr lang="it-IT" sz="1600" b="1">
                <a:solidFill>
                  <a:schemeClr val="tx1">
                    <a:lumMod val="50000"/>
                    <a:lumOff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it-IT" sz="1600" b="1" err="1">
                <a:solidFill>
                  <a:schemeClr val="tx1">
                    <a:lumMod val="50000"/>
                    <a:lumOff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Wage</a:t>
            </a:r>
            <a:r>
              <a:rPr lang="it-IT" sz="1600" b="1">
                <a:solidFill>
                  <a:schemeClr val="tx1">
                    <a:lumMod val="50000"/>
                    <a:lumOff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it-IT" sz="1600" b="1" err="1">
                <a:solidFill>
                  <a:schemeClr val="tx1">
                    <a:lumMod val="50000"/>
                    <a:lumOff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Indexation</a:t>
            </a:r>
            <a:endParaRPr lang="it-IT" sz="1600" b="1">
              <a:solidFill>
                <a:schemeClr val="tx1">
                  <a:lumMod val="50000"/>
                  <a:lumOff val="50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38" name="CasellaDiTesto 37">
            <a:extLst>
              <a:ext uri="{FF2B5EF4-FFF2-40B4-BE49-F238E27FC236}">
                <a16:creationId xmlns:a16="http://schemas.microsoft.com/office/drawing/2014/main" id="{0BEB055D-0595-4EE8-14D3-40E32434AE5B}"/>
              </a:ext>
            </a:extLst>
          </p:cNvPr>
          <p:cNvSpPr txBox="1"/>
          <p:nvPr/>
        </p:nvSpPr>
        <p:spPr>
          <a:xfrm>
            <a:off x="9548661" y="1594790"/>
            <a:ext cx="188185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sz="1400" b="1">
                <a:solidFill>
                  <a:schemeClr val="tx1">
                    <a:lumMod val="50000"/>
                    <a:lumOff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National </a:t>
            </a:r>
            <a:r>
              <a:rPr lang="it-IT" sz="1400" b="1" err="1">
                <a:solidFill>
                  <a:schemeClr val="tx1">
                    <a:lumMod val="50000"/>
                    <a:lumOff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limate</a:t>
            </a:r>
            <a:r>
              <a:rPr lang="it-IT" sz="1400" b="1">
                <a:solidFill>
                  <a:schemeClr val="tx1">
                    <a:lumMod val="50000"/>
                    <a:lumOff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Commission</a:t>
            </a:r>
          </a:p>
        </p:txBody>
      </p:sp>
      <p:sp>
        <p:nvSpPr>
          <p:cNvPr id="39" name="CasellaDiTesto 38">
            <a:extLst>
              <a:ext uri="{FF2B5EF4-FFF2-40B4-BE49-F238E27FC236}">
                <a16:creationId xmlns:a16="http://schemas.microsoft.com/office/drawing/2014/main" id="{DB7659EA-C5E7-5965-49C1-B8538B17C4CC}"/>
              </a:ext>
            </a:extLst>
          </p:cNvPr>
          <p:cNvSpPr txBox="1"/>
          <p:nvPr/>
        </p:nvSpPr>
        <p:spPr>
          <a:xfrm>
            <a:off x="648948" y="2416297"/>
            <a:ext cx="2363920" cy="27238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228600">
              <a:spcAft>
                <a:spcPts val="1200"/>
              </a:spcAft>
            </a:pPr>
            <a:r>
              <a:rPr lang="en-GB" sz="14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Navigating the </a:t>
            </a:r>
            <a:r>
              <a:rPr lang="en-GB" sz="1400" b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omplexity of the federal composition</a:t>
            </a:r>
          </a:p>
          <a:p>
            <a:pPr defTabSz="228600">
              <a:spcAft>
                <a:spcPts val="1200"/>
              </a:spcAft>
            </a:pPr>
            <a:r>
              <a:rPr lang="en-GB" sz="1400" b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ifferent Priorities</a:t>
            </a:r>
            <a:r>
              <a:rPr lang="en-GB" sz="14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in the various regions</a:t>
            </a:r>
            <a:endParaRPr lang="en-GB" sz="1400" b="1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defTabSz="228600">
              <a:spcAft>
                <a:spcPts val="1200"/>
              </a:spcAft>
            </a:pPr>
            <a:r>
              <a:rPr lang="en-GB" sz="14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Improving Fiscal Framework based on </a:t>
            </a:r>
            <a:r>
              <a:rPr lang="en-GB" sz="1400" b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2013 Cooperation Arrangement </a:t>
            </a:r>
          </a:p>
          <a:p>
            <a:endParaRPr lang="it-IT" sz="1500" b="1"/>
          </a:p>
        </p:txBody>
      </p:sp>
      <p:sp>
        <p:nvSpPr>
          <p:cNvPr id="41" name="CasellaDiTesto 40">
            <a:extLst>
              <a:ext uri="{FF2B5EF4-FFF2-40B4-BE49-F238E27FC236}">
                <a16:creationId xmlns:a16="http://schemas.microsoft.com/office/drawing/2014/main" id="{45C16CD0-7CFD-9F44-B178-8C35122DDF71}"/>
              </a:ext>
            </a:extLst>
          </p:cNvPr>
          <p:cNvSpPr txBox="1"/>
          <p:nvPr/>
        </p:nvSpPr>
        <p:spPr>
          <a:xfrm>
            <a:off x="3506104" y="2416297"/>
            <a:ext cx="2363920" cy="276998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228600">
              <a:spcAft>
                <a:spcPts val="1200"/>
              </a:spcAft>
            </a:pPr>
            <a:r>
              <a:rPr lang="en-GB" sz="14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Implementing a </a:t>
            </a:r>
            <a:r>
              <a:rPr lang="en-GB" sz="1400" b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gradual reduction </a:t>
            </a:r>
            <a:r>
              <a:rPr lang="en-GB" sz="14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of wage indexation</a:t>
            </a:r>
          </a:p>
          <a:p>
            <a:pPr defTabSz="228600">
              <a:spcAft>
                <a:spcPts val="1200"/>
              </a:spcAft>
            </a:pPr>
            <a:r>
              <a:rPr lang="en-GB" sz="1400" b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Reduces public deficit </a:t>
            </a:r>
            <a:r>
              <a:rPr lang="en-GB" sz="14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by opening up additional funds for other uses</a:t>
            </a:r>
          </a:p>
          <a:p>
            <a:pPr defTabSz="228600">
              <a:spcAft>
                <a:spcPts val="1200"/>
              </a:spcAft>
            </a:pPr>
            <a:r>
              <a:rPr lang="en-GB" sz="14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ecrease of public deficit leads to a </a:t>
            </a:r>
            <a:r>
              <a:rPr lang="en-GB" sz="1400" b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ecrease in borrowing costs</a:t>
            </a:r>
          </a:p>
        </p:txBody>
      </p:sp>
      <p:sp>
        <p:nvSpPr>
          <p:cNvPr id="42" name="CasellaDiTesto 41">
            <a:extLst>
              <a:ext uri="{FF2B5EF4-FFF2-40B4-BE49-F238E27FC236}">
                <a16:creationId xmlns:a16="http://schemas.microsoft.com/office/drawing/2014/main" id="{2F9F4A45-EFD0-3B52-A2D1-5F3568CF3937}"/>
              </a:ext>
            </a:extLst>
          </p:cNvPr>
          <p:cNvSpPr txBox="1"/>
          <p:nvPr/>
        </p:nvSpPr>
        <p:spPr>
          <a:xfrm>
            <a:off x="6388213" y="2461379"/>
            <a:ext cx="2363920" cy="153888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228600">
              <a:spcAft>
                <a:spcPts val="1200"/>
              </a:spcAft>
            </a:pPr>
            <a:r>
              <a:rPr lang="en-GB" sz="1400" b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Hub in Europe </a:t>
            </a:r>
            <a:r>
              <a:rPr lang="en-GB" sz="14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for renewable molecules based on hydrogen production</a:t>
            </a:r>
          </a:p>
          <a:p>
            <a:pPr defTabSz="228600">
              <a:spcAft>
                <a:spcPts val="1200"/>
              </a:spcAft>
            </a:pPr>
            <a:r>
              <a:rPr lang="en-GB" sz="14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Invest in </a:t>
            </a:r>
            <a:r>
              <a:rPr lang="en-GB" sz="1400" b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offshore wind </a:t>
            </a:r>
            <a:r>
              <a:rPr lang="en-GB" sz="14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roduction</a:t>
            </a:r>
          </a:p>
        </p:txBody>
      </p:sp>
      <p:sp>
        <p:nvSpPr>
          <p:cNvPr id="43" name="CasellaDiTesto 42">
            <a:extLst>
              <a:ext uri="{FF2B5EF4-FFF2-40B4-BE49-F238E27FC236}">
                <a16:creationId xmlns:a16="http://schemas.microsoft.com/office/drawing/2014/main" id="{2E0CB68F-8245-9C6D-EE13-9284D13FF5AE}"/>
              </a:ext>
            </a:extLst>
          </p:cNvPr>
          <p:cNvSpPr txBox="1"/>
          <p:nvPr/>
        </p:nvSpPr>
        <p:spPr>
          <a:xfrm>
            <a:off x="9307627" y="2480966"/>
            <a:ext cx="2363920" cy="2123658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defTabSz="228600">
              <a:spcAft>
                <a:spcPts val="1200"/>
              </a:spcAft>
            </a:pPr>
            <a:r>
              <a:rPr lang="en-GB" sz="1400">
                <a:latin typeface="Verdana"/>
                <a:ea typeface="Verdana"/>
                <a:cs typeface="Verdana" panose="020B0604030504040204" pitchFamily="34" charset="0"/>
              </a:rPr>
              <a:t>On the matter of climate change, there must be </a:t>
            </a:r>
            <a:r>
              <a:rPr lang="en-GB" sz="1400" b="1">
                <a:latin typeface="Verdana"/>
                <a:ea typeface="Verdana"/>
                <a:cs typeface="Verdana" panose="020B0604030504040204" pitchFamily="34" charset="0"/>
              </a:rPr>
              <a:t>coordination between state and federal governments</a:t>
            </a:r>
            <a:r>
              <a:rPr lang="en-GB" sz="1400">
                <a:latin typeface="Verdana"/>
                <a:ea typeface="Verdana"/>
                <a:cs typeface="Verdana" panose="020B0604030504040204" pitchFamily="34" charset="0"/>
              </a:rPr>
              <a:t>.</a:t>
            </a:r>
          </a:p>
          <a:p>
            <a:pPr defTabSz="228600">
              <a:spcAft>
                <a:spcPts val="1200"/>
              </a:spcAft>
            </a:pPr>
            <a:endParaRPr lang="en-GB" sz="140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defTabSz="228600">
              <a:spcAft>
                <a:spcPts val="1200"/>
              </a:spcAft>
            </a:pPr>
            <a:r>
              <a:rPr lang="en-GB" sz="1400">
                <a:latin typeface="Verdana"/>
                <a:ea typeface="Verdana"/>
                <a:cs typeface="Verdana" panose="020B0604030504040204" pitchFamily="34" charset="0"/>
              </a:rPr>
              <a:t>2002: </a:t>
            </a:r>
            <a:r>
              <a:rPr lang="en-GB" sz="1400" b="1">
                <a:latin typeface="Verdana"/>
                <a:ea typeface="Verdana"/>
                <a:cs typeface="Verdana" panose="020B0604030504040204" pitchFamily="34" charset="0"/>
              </a:rPr>
              <a:t>National climate commission</a:t>
            </a:r>
          </a:p>
        </p:txBody>
      </p:sp>
      <p:sp>
        <p:nvSpPr>
          <p:cNvPr id="5" name="CasellaDiTesto 4">
            <a:extLst>
              <a:ext uri="{FF2B5EF4-FFF2-40B4-BE49-F238E27FC236}">
                <a16:creationId xmlns:a16="http://schemas.microsoft.com/office/drawing/2014/main" id="{1C5AF8B8-22F7-7173-7170-DEA3F6B4CE66}"/>
              </a:ext>
            </a:extLst>
          </p:cNvPr>
          <p:cNvSpPr txBox="1"/>
          <p:nvPr/>
        </p:nvSpPr>
        <p:spPr>
          <a:xfrm>
            <a:off x="0" y="860270"/>
            <a:ext cx="12192000" cy="307777"/>
          </a:xfrm>
          <a:prstGeom prst="rect">
            <a:avLst/>
          </a:prstGeom>
          <a:solidFill>
            <a:srgbClr val="FFC000"/>
          </a:solidFill>
        </p:spPr>
        <p:txBody>
          <a:bodyPr wrap="square" rtlCol="0">
            <a:spAutoFit/>
          </a:bodyPr>
          <a:lstStyle/>
          <a:p>
            <a:r>
              <a:rPr lang="it-IT" sz="1400" i="1">
                <a:latin typeface="American Typewriter" panose="02090604020004020304" pitchFamily="18" charset="77"/>
              </a:rPr>
              <a:t>          </a:t>
            </a:r>
            <a:r>
              <a:rPr lang="it-IT" sz="1400" i="1" err="1">
                <a:latin typeface="American Typewriter" panose="02090604020004020304" pitchFamily="18" charset="77"/>
              </a:rPr>
              <a:t>Charting</a:t>
            </a:r>
            <a:r>
              <a:rPr lang="it-IT" sz="1400" i="1">
                <a:latin typeface="American Typewriter" panose="02090604020004020304" pitchFamily="18" charset="77"/>
              </a:rPr>
              <a:t> the Future: Fiscal </a:t>
            </a:r>
            <a:r>
              <a:rPr lang="it-IT" sz="1400" i="1" err="1">
                <a:latin typeface="American Typewriter" panose="02090604020004020304" pitchFamily="18" charset="77"/>
              </a:rPr>
              <a:t>Reform</a:t>
            </a:r>
            <a:r>
              <a:rPr lang="it-IT" sz="1400" i="1">
                <a:latin typeface="American Typewriter" panose="02090604020004020304" pitchFamily="18" charset="77"/>
              </a:rPr>
              <a:t> and Green Energy in </a:t>
            </a:r>
            <a:r>
              <a:rPr lang="it-IT" sz="1400" i="1" err="1">
                <a:latin typeface="American Typewriter" panose="02090604020004020304" pitchFamily="18" charset="77"/>
              </a:rPr>
              <a:t>Belgium</a:t>
            </a:r>
            <a:endParaRPr lang="it-IT" sz="1400" i="1">
              <a:latin typeface="American Typewriter" panose="02090604020004020304" pitchFamily="18" charset="77"/>
            </a:endParaRPr>
          </a:p>
        </p:txBody>
      </p:sp>
      <p:pic>
        <p:nvPicPr>
          <p:cNvPr id="6" name="Graphic 2" descr="Bank outline">
            <a:extLst>
              <a:ext uri="{FF2B5EF4-FFF2-40B4-BE49-F238E27FC236}">
                <a16:creationId xmlns:a16="http://schemas.microsoft.com/office/drawing/2014/main" id="{296B2C49-D82D-DF48-3406-26163BB3DA1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253035" y="5340561"/>
            <a:ext cx="998491" cy="998491"/>
          </a:xfrm>
          <a:prstGeom prst="rect">
            <a:avLst/>
          </a:prstGeom>
        </p:spPr>
      </p:pic>
      <p:pic>
        <p:nvPicPr>
          <p:cNvPr id="8" name="Graphic 4" descr="Coins outline">
            <a:extLst>
              <a:ext uri="{FF2B5EF4-FFF2-40B4-BE49-F238E27FC236}">
                <a16:creationId xmlns:a16="http://schemas.microsoft.com/office/drawing/2014/main" id="{77993C91-A37D-14E7-81DA-679AE7DD9F3F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4185289" y="5450063"/>
            <a:ext cx="914400" cy="914400"/>
          </a:xfrm>
          <a:prstGeom prst="rect">
            <a:avLst/>
          </a:prstGeom>
        </p:spPr>
      </p:pic>
      <p:pic>
        <p:nvPicPr>
          <p:cNvPr id="9" name="Picture 24" descr="A black background with a black square&#10;&#10;Description automatically generated with medium confidence">
            <a:extLst>
              <a:ext uri="{FF2B5EF4-FFF2-40B4-BE49-F238E27FC236}">
                <a16:creationId xmlns:a16="http://schemas.microsoft.com/office/drawing/2014/main" id="{0B95A96A-41F7-AD0A-3F5D-3E18102615A8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207511" y="5450063"/>
            <a:ext cx="725323" cy="725323"/>
          </a:xfrm>
          <a:prstGeom prst="rect">
            <a:avLst/>
          </a:prstGeom>
        </p:spPr>
      </p:pic>
      <p:pic>
        <p:nvPicPr>
          <p:cNvPr id="10" name="Picture 20" descr="A black background with a black square&#10;&#10;Description automatically generated with medium confidence">
            <a:extLst>
              <a:ext uri="{FF2B5EF4-FFF2-40B4-BE49-F238E27FC236}">
                <a16:creationId xmlns:a16="http://schemas.microsoft.com/office/drawing/2014/main" id="{A6795584-961D-6711-4983-E281011C4F38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0084725" y="5386631"/>
            <a:ext cx="809722" cy="8097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89766656"/>
      </p:ext>
    </p:extLst>
  </p:cSld>
  <p:clrMapOvr>
    <a:masterClrMapping/>
  </p:clrMapOvr>
  <p:transition spd="slow">
    <p:push dir="u"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7" name="Rectangle 16">
            <a:extLst>
              <a:ext uri="{FF2B5EF4-FFF2-40B4-BE49-F238E27FC236}">
                <a16:creationId xmlns:a16="http://schemas.microsoft.com/office/drawing/2014/main" id="{C2554CA6-288E-4202-BC52-2E5A8F0C0AE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3048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B10BB131-AC8E-4A8E-A5D1-36260F720C3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89189" y="1119031"/>
            <a:ext cx="4619938" cy="4619938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olo 1">
            <a:extLst>
              <a:ext uri="{FF2B5EF4-FFF2-40B4-BE49-F238E27FC236}">
                <a16:creationId xmlns:a16="http://schemas.microsoft.com/office/drawing/2014/main" id="{4EF9C3E4-12A9-1C5B-F9F6-8AAF5782D1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56148" y="1396686"/>
            <a:ext cx="3240506" cy="4064628"/>
          </a:xfrm>
        </p:spPr>
        <p:txBody>
          <a:bodyPr>
            <a:normAutofit/>
          </a:bodyPr>
          <a:lstStyle/>
          <a:p>
            <a:r>
              <a:rPr lang="it-IT">
                <a:solidFill>
                  <a:srgbClr val="FFFFFF"/>
                </a:solidFill>
              </a:rPr>
              <a:t>Thank </a:t>
            </a:r>
            <a:r>
              <a:rPr lang="it-IT" err="1">
                <a:solidFill>
                  <a:srgbClr val="FFFFFF"/>
                </a:solidFill>
              </a:rPr>
              <a:t>You</a:t>
            </a:r>
            <a:endParaRPr lang="it-IT">
              <a:solidFill>
                <a:srgbClr val="FFFFFF"/>
              </a:solidFill>
            </a:endParaRPr>
          </a:p>
        </p:txBody>
      </p:sp>
      <p:sp>
        <p:nvSpPr>
          <p:cNvPr id="21" name="Arc 20">
            <a:extLst>
              <a:ext uri="{FF2B5EF4-FFF2-40B4-BE49-F238E27FC236}">
                <a16:creationId xmlns:a16="http://schemas.microsoft.com/office/drawing/2014/main" id="{5B7778FC-632E-4DCA-A7CB-0D7731CCF97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9809111">
            <a:off x="8683720" y="941148"/>
            <a:ext cx="2987899" cy="2987899"/>
          </a:xfrm>
          <a:prstGeom prst="arc">
            <a:avLst>
              <a:gd name="adj1" fmla="val 15817365"/>
              <a:gd name="adj2" fmla="val 1781380"/>
            </a:avLst>
          </a:prstGeom>
          <a:ln w="127000" cap="rnd">
            <a:solidFill>
              <a:schemeClr val="accent4"/>
            </a:solidFill>
            <a:prstDash val="dash"/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3" name="Oval 22">
            <a:extLst>
              <a:ext uri="{FF2B5EF4-FFF2-40B4-BE49-F238E27FC236}">
                <a16:creationId xmlns:a16="http://schemas.microsoft.com/office/drawing/2014/main" id="{FA23A907-97FB-4A8F-880A-DD77401C429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910048" y="4780992"/>
            <a:ext cx="546100" cy="546100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Segnaposto contenuto 2">
            <a:extLst>
              <a:ext uri="{FF2B5EF4-FFF2-40B4-BE49-F238E27FC236}">
                <a16:creationId xmlns:a16="http://schemas.microsoft.com/office/drawing/2014/main" id="{D61D2C54-75BB-0F20-9B8D-887796630E3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370153" y="1526033"/>
            <a:ext cx="5536397" cy="3935281"/>
          </a:xfrm>
        </p:spPr>
        <p:txBody>
          <a:bodyPr>
            <a:normAutofit/>
          </a:bodyPr>
          <a:lstStyle/>
          <a:p>
            <a:endParaRPr lang="it-IT"/>
          </a:p>
        </p:txBody>
      </p:sp>
      <p:pic>
        <p:nvPicPr>
          <p:cNvPr id="10242" name="Picture 2">
            <a:extLst>
              <a:ext uri="{FF2B5EF4-FFF2-40B4-BE49-F238E27FC236}">
                <a16:creationId xmlns:a16="http://schemas.microsoft.com/office/drawing/2014/main" id="{B13E29DD-0F86-9F6F-6F40-9B350070DF3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45166" y="1500464"/>
            <a:ext cx="5561384" cy="48175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606830818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ema di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Application>Microsoft Office PowerPoint</Application>
  <PresentationFormat>Widescreen</PresentationFormat>
  <Slides>7</Slides>
  <Notes>0</Notes>
  <HiddenSlides>0</HiddenSlide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7</vt:i4>
      </vt:variant>
    </vt:vector>
  </HeadingPairs>
  <TitlesOfParts>
    <vt:vector size="8" baseType="lpstr">
      <vt:lpstr>Tema di Offic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Thank You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zione standard di PowerPoint</dc:title>
  <dc:creator>DAVIDE CHENGRUI XIE</dc:creator>
  <cp:revision>1</cp:revision>
  <dcterms:created xsi:type="dcterms:W3CDTF">2023-12-14T22:42:23Z</dcterms:created>
  <dcterms:modified xsi:type="dcterms:W3CDTF">2023-12-15T13:47:45Z</dcterms:modified>
</cp:coreProperties>
</file>